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0"/>
  </p:notesMasterIdLst>
  <p:sldIdLst>
    <p:sldId id="311" r:id="rId2"/>
    <p:sldId id="439" r:id="rId3"/>
    <p:sldId id="358" r:id="rId4"/>
    <p:sldId id="346" r:id="rId5"/>
    <p:sldId id="347" r:id="rId6"/>
    <p:sldId id="348" r:id="rId7"/>
    <p:sldId id="349" r:id="rId8"/>
    <p:sldId id="354" r:id="rId9"/>
    <p:sldId id="350" r:id="rId10"/>
    <p:sldId id="351" r:id="rId11"/>
    <p:sldId id="352" r:id="rId12"/>
    <p:sldId id="355" r:id="rId13"/>
    <p:sldId id="356" r:id="rId14"/>
    <p:sldId id="386" r:id="rId15"/>
    <p:sldId id="404" r:id="rId16"/>
    <p:sldId id="405" r:id="rId17"/>
    <p:sldId id="409" r:id="rId18"/>
    <p:sldId id="406" r:id="rId19"/>
    <p:sldId id="413" r:id="rId20"/>
    <p:sldId id="414" r:id="rId21"/>
    <p:sldId id="408" r:id="rId22"/>
    <p:sldId id="415" r:id="rId23"/>
    <p:sldId id="410" r:id="rId24"/>
    <p:sldId id="417" r:id="rId25"/>
    <p:sldId id="443" r:id="rId26"/>
    <p:sldId id="445" r:id="rId27"/>
    <p:sldId id="446" r:id="rId28"/>
    <p:sldId id="447" r:id="rId29"/>
    <p:sldId id="448" r:id="rId30"/>
    <p:sldId id="449" r:id="rId31"/>
    <p:sldId id="450" r:id="rId32"/>
    <p:sldId id="451" r:id="rId33"/>
    <p:sldId id="452" r:id="rId34"/>
    <p:sldId id="453" r:id="rId35"/>
    <p:sldId id="454" r:id="rId36"/>
    <p:sldId id="455" r:id="rId37"/>
    <p:sldId id="456" r:id="rId38"/>
    <p:sldId id="457" r:id="rId39"/>
    <p:sldId id="458" r:id="rId40"/>
    <p:sldId id="444" r:id="rId41"/>
    <p:sldId id="481" r:id="rId42"/>
    <p:sldId id="459" r:id="rId43"/>
    <p:sldId id="460" r:id="rId44"/>
    <p:sldId id="461" r:id="rId45"/>
    <p:sldId id="462" r:id="rId46"/>
    <p:sldId id="463" r:id="rId47"/>
    <p:sldId id="464" r:id="rId48"/>
    <p:sldId id="343" r:id="rId49"/>
    <p:sldId id="482" r:id="rId50"/>
    <p:sldId id="442" r:id="rId51"/>
    <p:sldId id="483" r:id="rId52"/>
    <p:sldId id="475" r:id="rId53"/>
    <p:sldId id="476" r:id="rId54"/>
    <p:sldId id="477" r:id="rId55"/>
    <p:sldId id="478" r:id="rId56"/>
    <p:sldId id="479" r:id="rId57"/>
    <p:sldId id="480" r:id="rId58"/>
    <p:sldId id="465" r:id="rId59"/>
    <p:sldId id="466" r:id="rId60"/>
    <p:sldId id="467" r:id="rId61"/>
    <p:sldId id="468" r:id="rId62"/>
    <p:sldId id="469" r:id="rId63"/>
    <p:sldId id="470" r:id="rId64"/>
    <p:sldId id="471" r:id="rId65"/>
    <p:sldId id="472" r:id="rId66"/>
    <p:sldId id="473" r:id="rId67"/>
    <p:sldId id="474" r:id="rId68"/>
    <p:sldId id="314" r:id="rId69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</a:t>
            </a:r>
            <a:r>
              <a:rPr lang="en-US" sz="1400" b="1" kern="0" dirty="0" smtClean="0">
                <a:latin typeface="+mn-lt"/>
              </a:rPr>
              <a:t>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image" Target="../media/image5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4" Type="http://schemas.openxmlformats.org/officeDocument/2006/relationships/image" Target="../media/image6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1.xml"/><Relationship Id="rId7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63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4" Type="http://schemas.openxmlformats.org/officeDocument/2006/relationships/image" Target="../media/image7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4" Type="http://schemas.openxmlformats.org/officeDocument/2006/relationships/image" Target="../media/image9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Relationship Id="rId5" Type="http://schemas.openxmlformats.org/officeDocument/2006/relationships/hyperlink" Target="https://www.worldometers.info/world-population/" TargetMode="External"/><Relationship Id="rId4" Type="http://schemas.openxmlformats.org/officeDocument/2006/relationships/image" Target="../media/image95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image" Target="../media/image98.png"/><Relationship Id="rId7" Type="http://schemas.openxmlformats.org/officeDocument/2006/relationships/image" Target="../media/image10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Relationship Id="rId6" Type="http://schemas.openxmlformats.org/officeDocument/2006/relationships/image" Target="../media/image101.jpeg"/><Relationship Id="rId11" Type="http://schemas.openxmlformats.org/officeDocument/2006/relationships/image" Target="../media/image106.jpeg"/><Relationship Id="rId5" Type="http://schemas.openxmlformats.org/officeDocument/2006/relationships/image" Target="../media/image100.jpeg"/><Relationship Id="rId10" Type="http://schemas.openxmlformats.org/officeDocument/2006/relationships/image" Target="../media/image105.jpeg"/><Relationship Id="rId4" Type="http://schemas.openxmlformats.org/officeDocument/2006/relationships/image" Target="../media/image99.jpeg"/><Relationship Id="rId9" Type="http://schemas.openxmlformats.org/officeDocument/2006/relationships/image" Target="../media/image104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8.xml"/><Relationship Id="rId7" Type="http://schemas.openxmlformats.org/officeDocument/2006/relationships/image" Target="../media/image21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5.png"/><Relationship Id="rId5" Type="http://schemas.openxmlformats.org/officeDocument/2006/relationships/tags" Target="../tags/tag40.xml"/><Relationship Id="rId10" Type="http://schemas.openxmlformats.org/officeDocument/2006/relationships/image" Target="../media/image24.png"/><Relationship Id="rId4" Type="http://schemas.openxmlformats.org/officeDocument/2006/relationships/tags" Target="../tags/tag39.xml"/><Relationship Id="rId9" Type="http://schemas.openxmlformats.org/officeDocument/2006/relationships/image" Target="../media/image23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2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21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43.xml"/><Relationship Id="rId7" Type="http://schemas.openxmlformats.org/officeDocument/2006/relationships/image" Target="../media/image28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Exponential &amp; Logarithmic Functions – Part II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and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Marginal Analysis</a:t>
            </a:r>
          </a:p>
          <a:p>
            <a:r>
              <a:rPr lang="en-US" smtClean="0"/>
              <a:t>week 8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ifferentiation of exp. &amp; log. functions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Exponential model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arginal analysis &amp; approximations using increment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Related rate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alculation of derivatives of complicated functions involving products, quotients, or powers can often be simplified by taking logarithms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4563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4"/>
            <a:ext cx="6011329" cy="26140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alculation of derivatives of complicated functions involving products, quotients, or powers can often be simplified by taking logarithms (3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4"/>
            <a:ext cx="7075864" cy="167873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147814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219798"/>
            <a:ext cx="7071631" cy="4799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uler-number e as a limit (1/ 2)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3" cstate="print"/>
          <a:srcRect b="57964"/>
          <a:stretch>
            <a:fillRect/>
          </a:stretch>
        </p:blipFill>
        <p:spPr bwMode="auto">
          <a:xfrm>
            <a:off x="228660" y="1133052"/>
            <a:ext cx="2171962" cy="176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2"/>
          <p:cNvPicPr>
            <a:picLocks noChangeAspect="1" noChangeArrowheads="1"/>
          </p:cNvPicPr>
          <p:nvPr/>
        </p:nvPicPr>
        <p:blipFill>
          <a:blip r:embed="rId3" cstate="print"/>
          <a:srcRect t="51577"/>
          <a:stretch>
            <a:fillRect/>
          </a:stretch>
        </p:blipFill>
        <p:spPr bwMode="auto">
          <a:xfrm>
            <a:off x="228660" y="3041038"/>
            <a:ext cx="2171962" cy="2028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97"/>
            <a:ext cx="5373784" cy="37184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uler-number e as a limit (2/ 2)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3" cstate="print"/>
          <a:srcRect b="57964"/>
          <a:stretch>
            <a:fillRect/>
          </a:stretch>
        </p:blipFill>
        <p:spPr bwMode="auto">
          <a:xfrm>
            <a:off x="228660" y="1133052"/>
            <a:ext cx="2171962" cy="176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2"/>
          <p:cNvPicPr>
            <a:picLocks noChangeAspect="1" noChangeArrowheads="1"/>
          </p:cNvPicPr>
          <p:nvPr/>
        </p:nvPicPr>
        <p:blipFill>
          <a:blip r:embed="rId3" cstate="print"/>
          <a:srcRect t="51577"/>
          <a:stretch>
            <a:fillRect/>
          </a:stretch>
        </p:blipFill>
        <p:spPr bwMode="auto">
          <a:xfrm>
            <a:off x="228660" y="3041038"/>
            <a:ext cx="2171962" cy="2028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96"/>
            <a:ext cx="5317455" cy="3243375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4644008" y="3874425"/>
            <a:ext cx="3024336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bgerundetes Rechteck 10"/>
          <p:cNvSpPr/>
          <p:nvPr/>
        </p:nvSpPr>
        <p:spPr>
          <a:xfrm>
            <a:off x="4644008" y="2714677"/>
            <a:ext cx="3024336" cy="504056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664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74625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Differentiation of Exponential &amp; Logarithmic Funct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Exponential Mode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Marginal Analysis &amp; Approximations Using Incremen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lated Rat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optimal holding tim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74689" cy="36880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optimal holding time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978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93"/>
            <a:ext cx="5337572" cy="16468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4" cstate="print"/>
          <a:srcRect l="31821" r="55102" b="81481"/>
          <a:stretch>
            <a:fillRect/>
          </a:stretch>
        </p:blipFill>
        <p:spPr bwMode="auto">
          <a:xfrm>
            <a:off x="251520" y="1131590"/>
            <a:ext cx="1944216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ial growth/ decay is characterizes by an increase/ decrease rate that is always proportional to the current value</a:t>
            </a:r>
            <a:endParaRPr lang="en-US" dirty="0"/>
          </a:p>
        </p:txBody>
      </p:sp>
      <p:pic>
        <p:nvPicPr>
          <p:cNvPr id="3" name="Picture 2 2"/>
          <p:cNvPicPr>
            <a:picLocks noChangeAspect="1" noChangeArrowheads="1"/>
          </p:cNvPicPr>
          <p:nvPr/>
        </p:nvPicPr>
        <p:blipFill>
          <a:blip r:embed="rId4" cstate="print"/>
          <a:srcRect r="55102"/>
          <a:stretch>
            <a:fillRect/>
          </a:stretch>
        </p:blipFill>
        <p:spPr bwMode="auto">
          <a:xfrm>
            <a:off x="251519" y="1131590"/>
            <a:ext cx="182880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4" cstate="print"/>
          <a:srcRect l="53061"/>
          <a:stretch>
            <a:fillRect/>
          </a:stretch>
        </p:blipFill>
        <p:spPr bwMode="auto">
          <a:xfrm>
            <a:off x="271113" y="3075806"/>
            <a:ext cx="191193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0" y="1203593"/>
            <a:ext cx="5335333" cy="73416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0" y="2139694"/>
            <a:ext cx="5347568" cy="28112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xponential sales rat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79575" cy="33819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xponential sales rat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80532" cy="36943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016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853590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Differentiation of Exponential &amp; Logarithmic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Exponential Mode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Marginal Analysis &amp; Approximations Using Incremen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lated Rat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xponential sales rat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71223" cy="36004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growth resembles an strictly increasing growth that is bounded by a capacity such that the rate of growth damps with increasing time (1/ 4)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80321" cy="328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80" y="1203596"/>
            <a:ext cx="5315797" cy="374890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growth resembles an strictly increasing growth that is bounded by a capacity such that the rate of growth damps with increasing time (2/ 4)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80321" cy="328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17162" cy="37149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 1"/>
          <p:cNvPicPr>
            <a:picLocks noChangeAspect="1" noChangeArrowheads="1"/>
          </p:cNvPicPr>
          <p:nvPr/>
        </p:nvPicPr>
        <p:blipFill>
          <a:blip r:embed="rId3" cstate="print"/>
          <a:srcRect l="74123" t="77210" r="7393"/>
          <a:stretch>
            <a:fillRect/>
          </a:stretch>
        </p:blipFill>
        <p:spPr bwMode="auto">
          <a:xfrm>
            <a:off x="251520" y="1131590"/>
            <a:ext cx="2880320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growth resembles an strictly increasing growth that is bounded by a capacity such that the rate of growth damps with increasing time (3/ 4)</a:t>
            </a:r>
            <a:endParaRPr lang="en-US" dirty="0"/>
          </a:p>
        </p:txBody>
      </p:sp>
      <p:pic>
        <p:nvPicPr>
          <p:cNvPr id="3" name="Picture 3 2"/>
          <p:cNvPicPr>
            <a:picLocks noChangeAspect="1" noChangeArrowheads="1"/>
          </p:cNvPicPr>
          <p:nvPr/>
        </p:nvPicPr>
        <p:blipFill>
          <a:blip r:embed="rId3" cstate="print"/>
          <a:srcRect t="33333" r="75795" b="44445"/>
          <a:stretch>
            <a:fillRect/>
          </a:stretch>
        </p:blipFill>
        <p:spPr bwMode="auto">
          <a:xfrm>
            <a:off x="251519" y="1131590"/>
            <a:ext cx="942993" cy="290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3"/>
          <p:cNvPicPr>
            <a:picLocks noChangeAspect="1" noChangeArrowheads="1"/>
          </p:cNvPicPr>
          <p:nvPr/>
        </p:nvPicPr>
        <p:blipFill>
          <a:blip r:embed="rId3" cstate="print"/>
          <a:srcRect l="26067"/>
          <a:stretch>
            <a:fillRect/>
          </a:stretch>
        </p:blipFill>
        <p:spPr bwMode="auto">
          <a:xfrm>
            <a:off x="251520" y="1554100"/>
            <a:ext cx="2880320" cy="1305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16617" cy="24744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istic growth resembles an strictly increasing growth that is bounded by a capacity such that the rate of growth damps with increasing time (4/ 4)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80321" cy="328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31487" cy="36975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5682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826467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Differentiation of Exponential &amp; Logarithmic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Exponential Model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Marginal Analysis &amp; Approximations Using Incremen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lated Rat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studies the change in a quantity that results from a 1-unit increase in this quantity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53348" cy="37229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studies the change in a quantity that results from a 1-unit increase in this quantity (2/ 3)</a:t>
            </a:r>
            <a:endParaRPr lang="en-US" dirty="0"/>
          </a:p>
        </p:txBody>
      </p:sp>
      <p:pic>
        <p:nvPicPr>
          <p:cNvPr id="1026" name="Picture 2 1"/>
          <p:cNvPicPr>
            <a:picLocks noChangeAspect="1" noChangeArrowheads="1"/>
          </p:cNvPicPr>
          <p:nvPr/>
        </p:nvPicPr>
        <p:blipFill>
          <a:blip r:embed="rId4" cstate="print"/>
          <a:srcRect r="56626"/>
          <a:stretch>
            <a:fillRect/>
          </a:stretch>
        </p:blipFill>
        <p:spPr bwMode="auto">
          <a:xfrm>
            <a:off x="251520" y="1131590"/>
            <a:ext cx="2592288" cy="199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4" cstate="print"/>
          <a:srcRect l="56626"/>
          <a:stretch>
            <a:fillRect/>
          </a:stretch>
        </p:blipFill>
        <p:spPr bwMode="auto">
          <a:xfrm>
            <a:off x="251520" y="3003798"/>
            <a:ext cx="2592288" cy="199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65618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9"/>
            <a:ext cx="5305352" cy="149900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2931790"/>
            <a:ext cx="5472608" cy="20882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3003798"/>
            <a:ext cx="3616301" cy="16876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studies the change in a quantity that results from a 1-unit increase in this quantity (3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6"/>
            <a:ext cx="7052075" cy="72005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697"/>
            <a:ext cx="7050017" cy="22482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to make a business decis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11373" cy="3603282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" descr="Camera Canada :: Canon :: PowerShot G5X MKII BONU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48139" cy="93610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 the natural exponential function with base </a:t>
            </a:r>
            <a:r>
              <a:rPr lang="en-US" i="1" dirty="0" smtClean="0"/>
              <a:t>e</a:t>
            </a:r>
            <a:r>
              <a:rPr lang="en-US" dirty="0" smtClean="0"/>
              <a:t> is the only non-constant function whose derivative is equal to the function itself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5" cstate="print"/>
          <a:srcRect r="54948"/>
          <a:stretch>
            <a:fillRect/>
          </a:stretch>
        </p:blipFill>
        <p:spPr bwMode="auto">
          <a:xfrm>
            <a:off x="202373" y="1071395"/>
            <a:ext cx="2281395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2"/>
          <p:cNvPicPr>
            <a:picLocks noChangeAspect="1" noChangeArrowheads="1"/>
          </p:cNvPicPr>
          <p:nvPr/>
        </p:nvPicPr>
        <p:blipFill>
          <a:blip r:embed="rId5" cstate="print"/>
          <a:srcRect l="54036"/>
          <a:stretch>
            <a:fillRect/>
          </a:stretch>
        </p:blipFill>
        <p:spPr bwMode="auto">
          <a:xfrm>
            <a:off x="236280" y="3095238"/>
            <a:ext cx="2327578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21" y="1195970"/>
            <a:ext cx="5370695" cy="1308872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3419872" y="3435846"/>
            <a:ext cx="5472608" cy="8640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69020" y="3500230"/>
            <a:ext cx="4513654" cy="710414"/>
          </a:xfrm>
          <a:prstGeom prst="rect">
            <a:avLst/>
          </a:prstGeom>
          <a:noFill/>
          <a:ln/>
          <a:effectLst/>
        </p:spPr>
      </p:pic>
      <p:sp>
        <p:nvSpPr>
          <p:cNvPr id="23" name="Rechteck 22"/>
          <p:cNvSpPr/>
          <p:nvPr/>
        </p:nvSpPr>
        <p:spPr>
          <a:xfrm>
            <a:off x="3419872" y="2787774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69020" y="2852158"/>
            <a:ext cx="5372708" cy="4286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to make a business decis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25153" cy="3767265"/>
          </a:xfrm>
          <a:prstGeom prst="rect">
            <a:avLst/>
          </a:prstGeom>
          <a:noFill/>
          <a:ln/>
          <a:effectLst/>
        </p:spPr>
      </p:pic>
      <p:pic>
        <p:nvPicPr>
          <p:cNvPr id="3074" name="Picture 2" descr="Camera Canada :: Canon :: PowerShot G5X MKII BONU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48139" cy="93610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can be viewed as an application of our just discussed topic of linear approximation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60619" cy="3413482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275856" y="4299942"/>
            <a:ext cx="4032448" cy="4320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ginal analysis can be viewed as an application of our just discussed topic of linear approximation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43834" cy="42411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20162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65"/>
            <a:ext cx="5740361" cy="18208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a change in required lab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73764" cy="37567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the notational point of view, increments are sometimes referred to as differentials (1/ 2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22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8"/>
            <a:ext cx="5305866" cy="1410755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859782"/>
            <a:ext cx="5472608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931790"/>
            <a:ext cx="5297110" cy="10327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the notational point of view, increments are sometimes referred to as differentials (2/ 2)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2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8"/>
            <a:ext cx="5311180" cy="36440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differenti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6776938" cy="28762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in labor managemen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35297" cy="37692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in labor managemen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17942" cy="37694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Marginal Analysis in labor managemen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2"/>
            <a:ext cx="7029309" cy="1524696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147808"/>
            <a:ext cx="7032256" cy="17830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, let us use implicit differentiation to find the derivatives of logarithmic function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9"/>
            <a:ext cx="4542628" cy="886858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78" y="2560724"/>
            <a:ext cx="7200800" cy="245929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88" y="2643758"/>
            <a:ext cx="7014551" cy="22814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1982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826467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Differentiation of Exponential &amp; Logarithmic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Exponential Mode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Marginal Analysis &amp; Approximations Using Increment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Related Rat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Textfeld 322"/>
          <p:cNvSpPr txBox="1"/>
          <p:nvPr/>
        </p:nvSpPr>
        <p:spPr>
          <a:xfrm>
            <a:off x="7596336" y="1131590"/>
            <a:ext cx="1296144" cy="22775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assign names to variables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determine what is known and what is unknown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develop the steps of how to come from the known to the unknown</a:t>
            </a:r>
            <a:endParaRPr lang="en-US" sz="12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 solving strategies combine unstructured creativity with structured formalism to find and document solutions</a:t>
            </a:r>
            <a:endParaRPr lang="en-US" dirty="0"/>
          </a:p>
        </p:txBody>
      </p:sp>
      <p:grpSp>
        <p:nvGrpSpPr>
          <p:cNvPr id="3" name="Group 537"/>
          <p:cNvGrpSpPr>
            <a:grpSpLocks/>
          </p:cNvGrpSpPr>
          <p:nvPr/>
        </p:nvGrpSpPr>
        <p:grpSpPr bwMode="auto">
          <a:xfrm>
            <a:off x="3131840" y="1131590"/>
            <a:ext cx="4070987" cy="3888432"/>
            <a:chOff x="2096" y="816"/>
            <a:chExt cx="3568" cy="3408"/>
          </a:xfrm>
        </p:grpSpPr>
        <p:sp>
          <p:nvSpPr>
            <p:cNvPr id="5" name="Rectangle 3"/>
            <p:cNvSpPr>
              <a:spLocks noChangeArrowheads="1"/>
            </p:cNvSpPr>
            <p:nvPr/>
          </p:nvSpPr>
          <p:spPr bwMode="auto">
            <a:xfrm>
              <a:off x="2096" y="816"/>
              <a:ext cx="2016" cy="1296"/>
            </a:xfrm>
            <a:prstGeom prst="rect">
              <a:avLst/>
            </a:prstGeom>
            <a:noFill/>
            <a:ln w="2857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81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pic>
          <p:nvPicPr>
            <p:cNvPr id="6" name="Picture 7" descr="C:\Programme\Microsoft Office\Clipart\WebArt\bd10847_.gi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056" y="912"/>
              <a:ext cx="480" cy="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 Box 8"/>
            <p:cNvSpPr txBox="1">
              <a:spLocks noChangeArrowheads="1"/>
            </p:cNvSpPr>
            <p:nvPr/>
          </p:nvSpPr>
          <p:spPr bwMode="auto">
            <a:xfrm>
              <a:off x="2671" y="1632"/>
              <a:ext cx="953" cy="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400" dirty="0"/>
                <a:t>understand</a:t>
              </a:r>
            </a:p>
            <a:p>
              <a:pPr algn="ctr"/>
              <a:r>
                <a:rPr lang="de-DE" sz="1400" dirty="0" err="1"/>
                <a:t>the</a:t>
              </a:r>
              <a:r>
                <a:rPr lang="de-DE" sz="1400" dirty="0"/>
                <a:t> </a:t>
              </a:r>
              <a:r>
                <a:rPr lang="de-DE" sz="1400" dirty="0" err="1"/>
                <a:t>problem</a:t>
              </a:r>
              <a:endParaRPr lang="de-DE" sz="1400" dirty="0"/>
            </a:p>
          </p:txBody>
        </p:sp>
        <p:pic>
          <p:nvPicPr>
            <p:cNvPr id="8" name="Picture 9" descr="C:\Programme\Microsoft Office\Clipart\WebArt\bd10869_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92" y="1366"/>
              <a:ext cx="428" cy="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AutoShape 10"/>
            <p:cNvSpPr>
              <a:spLocks noChangeArrowheads="1"/>
            </p:cNvSpPr>
            <p:nvPr/>
          </p:nvSpPr>
          <p:spPr bwMode="auto">
            <a:xfrm>
              <a:off x="2268" y="1008"/>
              <a:ext cx="487" cy="568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430200" prstMaterial="legacyWirefram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10" name="Rectangle 11"/>
            <p:cNvSpPr>
              <a:spLocks noChangeArrowheads="1"/>
            </p:cNvSpPr>
            <p:nvPr/>
          </p:nvSpPr>
          <p:spPr bwMode="auto">
            <a:xfrm>
              <a:off x="3536" y="2928"/>
              <a:ext cx="2016" cy="1296"/>
            </a:xfrm>
            <a:prstGeom prst="rect">
              <a:avLst/>
            </a:prstGeom>
            <a:noFill/>
            <a:ln w="2857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81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 rot="-5400000">
              <a:off x="3896" y="1176"/>
              <a:ext cx="2016" cy="1296"/>
            </a:xfrm>
            <a:prstGeom prst="rect">
              <a:avLst/>
            </a:prstGeom>
            <a:noFill/>
            <a:ln w="2857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81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Text Box 13"/>
            <p:cNvSpPr txBox="1">
              <a:spLocks noChangeArrowheads="1"/>
            </p:cNvSpPr>
            <p:nvPr/>
          </p:nvSpPr>
          <p:spPr bwMode="auto">
            <a:xfrm>
              <a:off x="4491" y="2352"/>
              <a:ext cx="820" cy="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400" dirty="0" err="1"/>
                <a:t>develop</a:t>
              </a:r>
              <a:r>
                <a:rPr lang="de-DE" sz="1400" dirty="0"/>
                <a:t> a </a:t>
              </a:r>
            </a:p>
            <a:p>
              <a:pPr algn="ctr"/>
              <a:r>
                <a:rPr lang="de-DE" sz="1400" dirty="0"/>
                <a:t>plan</a:t>
              </a:r>
            </a:p>
          </p:txBody>
        </p:sp>
        <p:sp>
          <p:nvSpPr>
            <p:cNvPr id="13" name="Text Box 14"/>
            <p:cNvSpPr txBox="1">
              <a:spLocks noChangeArrowheads="1"/>
            </p:cNvSpPr>
            <p:nvPr/>
          </p:nvSpPr>
          <p:spPr bwMode="auto">
            <a:xfrm>
              <a:off x="3927" y="3934"/>
              <a:ext cx="1224" cy="2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400" dirty="0" err="1"/>
                <a:t>execute</a:t>
              </a:r>
              <a:r>
                <a:rPr lang="de-DE" sz="1400" dirty="0"/>
                <a:t> </a:t>
              </a:r>
              <a:r>
                <a:rPr lang="de-DE" sz="1400" dirty="0" err="1"/>
                <a:t>the</a:t>
              </a:r>
              <a:r>
                <a:rPr lang="de-DE" sz="1400" dirty="0"/>
                <a:t> plan</a:t>
              </a:r>
            </a:p>
          </p:txBody>
        </p:sp>
        <p:sp>
          <p:nvSpPr>
            <p:cNvPr id="14" name="Text Box 15"/>
            <p:cNvSpPr txBox="1">
              <a:spLocks noChangeArrowheads="1"/>
            </p:cNvSpPr>
            <p:nvPr/>
          </p:nvSpPr>
          <p:spPr bwMode="auto">
            <a:xfrm>
              <a:off x="2268" y="3744"/>
              <a:ext cx="916" cy="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400" dirty="0" err="1"/>
                <a:t>review</a:t>
              </a:r>
              <a:r>
                <a:rPr lang="de-DE" sz="1400" dirty="0"/>
                <a:t> </a:t>
              </a:r>
              <a:r>
                <a:rPr lang="de-DE" sz="1400" dirty="0" err="1"/>
                <a:t>your</a:t>
              </a:r>
              <a:endParaRPr lang="de-DE" sz="1400" dirty="0"/>
            </a:p>
            <a:p>
              <a:pPr algn="ctr"/>
              <a:r>
                <a:rPr lang="de-DE" sz="1400" dirty="0" err="1"/>
                <a:t>solution</a:t>
              </a:r>
              <a:endParaRPr lang="de-DE" sz="1400" dirty="0"/>
            </a:p>
          </p:txBody>
        </p:sp>
        <p:sp>
          <p:nvSpPr>
            <p:cNvPr id="15" name="AutoShape 16"/>
            <p:cNvSpPr>
              <a:spLocks noChangeArrowheads="1"/>
            </p:cNvSpPr>
            <p:nvPr/>
          </p:nvSpPr>
          <p:spPr bwMode="auto">
            <a:xfrm>
              <a:off x="3720" y="920"/>
              <a:ext cx="960" cy="240"/>
            </a:xfrm>
            <a:prstGeom prst="curvedDownArrow">
              <a:avLst>
                <a:gd name="adj1" fmla="val 80000"/>
                <a:gd name="adj2" fmla="val 160000"/>
                <a:gd name="adj3" fmla="val 33333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AutoShape 17"/>
            <p:cNvSpPr>
              <a:spLocks noChangeArrowheads="1"/>
            </p:cNvSpPr>
            <p:nvPr/>
          </p:nvSpPr>
          <p:spPr bwMode="auto">
            <a:xfrm rot="5400000">
              <a:off x="5064" y="2760"/>
              <a:ext cx="960" cy="240"/>
            </a:xfrm>
            <a:prstGeom prst="curvedDownArrow">
              <a:avLst>
                <a:gd name="adj1" fmla="val 80000"/>
                <a:gd name="adj2" fmla="val 160000"/>
                <a:gd name="adj3" fmla="val 33333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Rectangle 18"/>
            <p:cNvSpPr>
              <a:spLocks noChangeArrowheads="1"/>
            </p:cNvSpPr>
            <p:nvPr/>
          </p:nvSpPr>
          <p:spPr bwMode="auto">
            <a:xfrm rot="-5400000">
              <a:off x="1736" y="2568"/>
              <a:ext cx="2016" cy="1296"/>
            </a:xfrm>
            <a:prstGeom prst="rect">
              <a:avLst/>
            </a:prstGeom>
            <a:noFill/>
            <a:ln w="2857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81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4" name="Group 206"/>
            <p:cNvGrpSpPr>
              <a:grpSpLocks/>
            </p:cNvGrpSpPr>
            <p:nvPr/>
          </p:nvGrpSpPr>
          <p:grpSpPr bwMode="auto">
            <a:xfrm>
              <a:off x="3600" y="3320"/>
              <a:ext cx="1824" cy="536"/>
              <a:chOff x="3600" y="3320"/>
              <a:chExt cx="1824" cy="536"/>
            </a:xfrm>
          </p:grpSpPr>
          <p:sp>
            <p:nvSpPr>
              <p:cNvPr id="312" name="Freeform 207"/>
              <p:cNvSpPr>
                <a:spLocks/>
              </p:cNvSpPr>
              <p:nvPr/>
            </p:nvSpPr>
            <p:spPr bwMode="auto">
              <a:xfrm>
                <a:off x="4735" y="3602"/>
                <a:ext cx="237" cy="119"/>
              </a:xfrm>
              <a:custGeom>
                <a:avLst/>
                <a:gdLst>
                  <a:gd name="T0" fmla="*/ 233 w 475"/>
                  <a:gd name="T1" fmla="*/ 0 h 236"/>
                  <a:gd name="T2" fmla="*/ 0 w 475"/>
                  <a:gd name="T3" fmla="*/ 77 h 236"/>
                  <a:gd name="T4" fmla="*/ 50 w 475"/>
                  <a:gd name="T5" fmla="*/ 190 h 236"/>
                  <a:gd name="T6" fmla="*/ 57 w 475"/>
                  <a:gd name="T7" fmla="*/ 192 h 236"/>
                  <a:gd name="T8" fmla="*/ 73 w 475"/>
                  <a:gd name="T9" fmla="*/ 198 h 236"/>
                  <a:gd name="T10" fmla="*/ 97 w 475"/>
                  <a:gd name="T11" fmla="*/ 206 h 236"/>
                  <a:gd name="T12" fmla="*/ 126 w 475"/>
                  <a:gd name="T13" fmla="*/ 215 h 236"/>
                  <a:gd name="T14" fmla="*/ 156 w 475"/>
                  <a:gd name="T15" fmla="*/ 224 h 236"/>
                  <a:gd name="T16" fmla="*/ 184 w 475"/>
                  <a:gd name="T17" fmla="*/ 232 h 236"/>
                  <a:gd name="T18" fmla="*/ 207 w 475"/>
                  <a:gd name="T19" fmla="*/ 236 h 236"/>
                  <a:gd name="T20" fmla="*/ 221 w 475"/>
                  <a:gd name="T21" fmla="*/ 236 h 236"/>
                  <a:gd name="T22" fmla="*/ 238 w 475"/>
                  <a:gd name="T23" fmla="*/ 232 h 236"/>
                  <a:gd name="T24" fmla="*/ 270 w 475"/>
                  <a:gd name="T25" fmla="*/ 221 h 236"/>
                  <a:gd name="T26" fmla="*/ 313 w 475"/>
                  <a:gd name="T27" fmla="*/ 208 h 236"/>
                  <a:gd name="T28" fmla="*/ 357 w 475"/>
                  <a:gd name="T29" fmla="*/ 193 h 236"/>
                  <a:gd name="T30" fmla="*/ 401 w 475"/>
                  <a:gd name="T31" fmla="*/ 180 h 236"/>
                  <a:gd name="T32" fmla="*/ 438 w 475"/>
                  <a:gd name="T33" fmla="*/ 166 h 236"/>
                  <a:gd name="T34" fmla="*/ 464 w 475"/>
                  <a:gd name="T35" fmla="*/ 157 h 236"/>
                  <a:gd name="T36" fmla="*/ 475 w 475"/>
                  <a:gd name="T37" fmla="*/ 154 h 236"/>
                  <a:gd name="T38" fmla="*/ 233 w 475"/>
                  <a:gd name="T39" fmla="*/ 0 h 2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75"/>
                  <a:gd name="T61" fmla="*/ 0 h 236"/>
                  <a:gd name="T62" fmla="*/ 475 w 475"/>
                  <a:gd name="T63" fmla="*/ 236 h 2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75" h="236">
                    <a:moveTo>
                      <a:pt x="233" y="0"/>
                    </a:moveTo>
                    <a:lnTo>
                      <a:pt x="0" y="77"/>
                    </a:lnTo>
                    <a:lnTo>
                      <a:pt x="50" y="190"/>
                    </a:lnTo>
                    <a:lnTo>
                      <a:pt x="57" y="192"/>
                    </a:lnTo>
                    <a:lnTo>
                      <a:pt x="73" y="198"/>
                    </a:lnTo>
                    <a:lnTo>
                      <a:pt x="97" y="206"/>
                    </a:lnTo>
                    <a:lnTo>
                      <a:pt x="126" y="215"/>
                    </a:lnTo>
                    <a:lnTo>
                      <a:pt x="156" y="224"/>
                    </a:lnTo>
                    <a:lnTo>
                      <a:pt x="184" y="232"/>
                    </a:lnTo>
                    <a:lnTo>
                      <a:pt x="207" y="236"/>
                    </a:lnTo>
                    <a:lnTo>
                      <a:pt x="221" y="236"/>
                    </a:lnTo>
                    <a:lnTo>
                      <a:pt x="238" y="232"/>
                    </a:lnTo>
                    <a:lnTo>
                      <a:pt x="270" y="221"/>
                    </a:lnTo>
                    <a:lnTo>
                      <a:pt x="313" y="208"/>
                    </a:lnTo>
                    <a:lnTo>
                      <a:pt x="357" y="193"/>
                    </a:lnTo>
                    <a:lnTo>
                      <a:pt x="401" y="180"/>
                    </a:lnTo>
                    <a:lnTo>
                      <a:pt x="438" y="166"/>
                    </a:lnTo>
                    <a:lnTo>
                      <a:pt x="464" y="157"/>
                    </a:lnTo>
                    <a:lnTo>
                      <a:pt x="475" y="154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3" name="Freeform 208"/>
              <p:cNvSpPr>
                <a:spLocks/>
              </p:cNvSpPr>
              <p:nvPr/>
            </p:nvSpPr>
            <p:spPr bwMode="auto">
              <a:xfrm>
                <a:off x="4026" y="3348"/>
                <a:ext cx="422" cy="249"/>
              </a:xfrm>
              <a:custGeom>
                <a:avLst/>
                <a:gdLst>
                  <a:gd name="T0" fmla="*/ 342 w 845"/>
                  <a:gd name="T1" fmla="*/ 0 h 499"/>
                  <a:gd name="T2" fmla="*/ 189 w 845"/>
                  <a:gd name="T3" fmla="*/ 112 h 499"/>
                  <a:gd name="T4" fmla="*/ 0 w 845"/>
                  <a:gd name="T5" fmla="*/ 227 h 499"/>
                  <a:gd name="T6" fmla="*/ 7 w 845"/>
                  <a:gd name="T7" fmla="*/ 237 h 499"/>
                  <a:gd name="T8" fmla="*/ 28 w 845"/>
                  <a:gd name="T9" fmla="*/ 262 h 499"/>
                  <a:gd name="T10" fmla="*/ 56 w 845"/>
                  <a:gd name="T11" fmla="*/ 300 h 499"/>
                  <a:gd name="T12" fmla="*/ 92 w 845"/>
                  <a:gd name="T13" fmla="*/ 341 h 499"/>
                  <a:gd name="T14" fmla="*/ 127 w 845"/>
                  <a:gd name="T15" fmla="*/ 383 h 499"/>
                  <a:gd name="T16" fmla="*/ 162 w 845"/>
                  <a:gd name="T17" fmla="*/ 418 h 499"/>
                  <a:gd name="T18" fmla="*/ 192 w 845"/>
                  <a:gd name="T19" fmla="*/ 444 h 499"/>
                  <a:gd name="T20" fmla="*/ 213 w 845"/>
                  <a:gd name="T21" fmla="*/ 451 h 499"/>
                  <a:gd name="T22" fmla="*/ 224 w 845"/>
                  <a:gd name="T23" fmla="*/ 450 h 499"/>
                  <a:gd name="T24" fmla="*/ 238 w 845"/>
                  <a:gd name="T25" fmla="*/ 448 h 499"/>
                  <a:gd name="T26" fmla="*/ 256 w 845"/>
                  <a:gd name="T27" fmla="*/ 445 h 499"/>
                  <a:gd name="T28" fmla="*/ 275 w 845"/>
                  <a:gd name="T29" fmla="*/ 442 h 499"/>
                  <a:gd name="T30" fmla="*/ 298 w 845"/>
                  <a:gd name="T31" fmla="*/ 438 h 499"/>
                  <a:gd name="T32" fmla="*/ 321 w 845"/>
                  <a:gd name="T33" fmla="*/ 435 h 499"/>
                  <a:gd name="T34" fmla="*/ 346 w 845"/>
                  <a:gd name="T35" fmla="*/ 430 h 499"/>
                  <a:gd name="T36" fmla="*/ 370 w 845"/>
                  <a:gd name="T37" fmla="*/ 426 h 499"/>
                  <a:gd name="T38" fmla="*/ 395 w 845"/>
                  <a:gd name="T39" fmla="*/ 423 h 499"/>
                  <a:gd name="T40" fmla="*/ 418 w 845"/>
                  <a:gd name="T41" fmla="*/ 418 h 499"/>
                  <a:gd name="T42" fmla="*/ 439 w 845"/>
                  <a:gd name="T43" fmla="*/ 415 h 499"/>
                  <a:gd name="T44" fmla="*/ 457 w 845"/>
                  <a:gd name="T45" fmla="*/ 411 h 499"/>
                  <a:gd name="T46" fmla="*/ 473 w 845"/>
                  <a:gd name="T47" fmla="*/ 409 h 499"/>
                  <a:gd name="T48" fmla="*/ 485 w 845"/>
                  <a:gd name="T49" fmla="*/ 407 h 499"/>
                  <a:gd name="T50" fmla="*/ 492 w 845"/>
                  <a:gd name="T51" fmla="*/ 405 h 499"/>
                  <a:gd name="T52" fmla="*/ 496 w 845"/>
                  <a:gd name="T53" fmla="*/ 405 h 499"/>
                  <a:gd name="T54" fmla="*/ 697 w 845"/>
                  <a:gd name="T55" fmla="*/ 499 h 499"/>
                  <a:gd name="T56" fmla="*/ 845 w 845"/>
                  <a:gd name="T57" fmla="*/ 374 h 499"/>
                  <a:gd name="T58" fmla="*/ 759 w 845"/>
                  <a:gd name="T59" fmla="*/ 286 h 499"/>
                  <a:gd name="T60" fmla="*/ 550 w 845"/>
                  <a:gd name="T61" fmla="*/ 190 h 499"/>
                  <a:gd name="T62" fmla="*/ 342 w 845"/>
                  <a:gd name="T63" fmla="*/ 0 h 4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45"/>
                  <a:gd name="T97" fmla="*/ 0 h 499"/>
                  <a:gd name="T98" fmla="*/ 845 w 845"/>
                  <a:gd name="T99" fmla="*/ 499 h 49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45" h="499">
                    <a:moveTo>
                      <a:pt x="342" y="0"/>
                    </a:moveTo>
                    <a:lnTo>
                      <a:pt x="189" y="112"/>
                    </a:lnTo>
                    <a:lnTo>
                      <a:pt x="0" y="227"/>
                    </a:lnTo>
                    <a:lnTo>
                      <a:pt x="7" y="237"/>
                    </a:lnTo>
                    <a:lnTo>
                      <a:pt x="28" y="262"/>
                    </a:lnTo>
                    <a:lnTo>
                      <a:pt x="56" y="300"/>
                    </a:lnTo>
                    <a:lnTo>
                      <a:pt x="92" y="341"/>
                    </a:lnTo>
                    <a:lnTo>
                      <a:pt x="127" y="383"/>
                    </a:lnTo>
                    <a:lnTo>
                      <a:pt x="162" y="418"/>
                    </a:lnTo>
                    <a:lnTo>
                      <a:pt x="192" y="444"/>
                    </a:lnTo>
                    <a:lnTo>
                      <a:pt x="213" y="451"/>
                    </a:lnTo>
                    <a:lnTo>
                      <a:pt x="224" y="450"/>
                    </a:lnTo>
                    <a:lnTo>
                      <a:pt x="238" y="448"/>
                    </a:lnTo>
                    <a:lnTo>
                      <a:pt x="256" y="445"/>
                    </a:lnTo>
                    <a:lnTo>
                      <a:pt x="275" y="442"/>
                    </a:lnTo>
                    <a:lnTo>
                      <a:pt x="298" y="438"/>
                    </a:lnTo>
                    <a:lnTo>
                      <a:pt x="321" y="435"/>
                    </a:lnTo>
                    <a:lnTo>
                      <a:pt x="346" y="430"/>
                    </a:lnTo>
                    <a:lnTo>
                      <a:pt x="370" y="426"/>
                    </a:lnTo>
                    <a:lnTo>
                      <a:pt x="395" y="423"/>
                    </a:lnTo>
                    <a:lnTo>
                      <a:pt x="418" y="418"/>
                    </a:lnTo>
                    <a:lnTo>
                      <a:pt x="439" y="415"/>
                    </a:lnTo>
                    <a:lnTo>
                      <a:pt x="457" y="411"/>
                    </a:lnTo>
                    <a:lnTo>
                      <a:pt x="473" y="409"/>
                    </a:lnTo>
                    <a:lnTo>
                      <a:pt x="485" y="407"/>
                    </a:lnTo>
                    <a:lnTo>
                      <a:pt x="492" y="405"/>
                    </a:lnTo>
                    <a:lnTo>
                      <a:pt x="496" y="405"/>
                    </a:lnTo>
                    <a:lnTo>
                      <a:pt x="697" y="499"/>
                    </a:lnTo>
                    <a:lnTo>
                      <a:pt x="845" y="374"/>
                    </a:lnTo>
                    <a:lnTo>
                      <a:pt x="759" y="286"/>
                    </a:lnTo>
                    <a:lnTo>
                      <a:pt x="550" y="190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4" name="Freeform 209"/>
              <p:cNvSpPr>
                <a:spLocks/>
              </p:cNvSpPr>
              <p:nvPr/>
            </p:nvSpPr>
            <p:spPr bwMode="auto">
              <a:xfrm>
                <a:off x="3662" y="3443"/>
                <a:ext cx="1762" cy="413"/>
              </a:xfrm>
              <a:custGeom>
                <a:avLst/>
                <a:gdLst>
                  <a:gd name="T0" fmla="*/ 763 w 3525"/>
                  <a:gd name="T1" fmla="*/ 0 h 825"/>
                  <a:gd name="T2" fmla="*/ 0 w 3525"/>
                  <a:gd name="T3" fmla="*/ 473 h 825"/>
                  <a:gd name="T4" fmla="*/ 22 w 3525"/>
                  <a:gd name="T5" fmla="*/ 470 h 825"/>
                  <a:gd name="T6" fmla="*/ 78 w 3525"/>
                  <a:gd name="T7" fmla="*/ 462 h 825"/>
                  <a:gd name="T8" fmla="*/ 163 w 3525"/>
                  <a:gd name="T9" fmla="*/ 457 h 825"/>
                  <a:gd name="T10" fmla="*/ 272 w 3525"/>
                  <a:gd name="T11" fmla="*/ 457 h 825"/>
                  <a:gd name="T12" fmla="*/ 397 w 3525"/>
                  <a:gd name="T13" fmla="*/ 472 h 825"/>
                  <a:gd name="T14" fmla="*/ 530 w 3525"/>
                  <a:gd name="T15" fmla="*/ 503 h 825"/>
                  <a:gd name="T16" fmla="*/ 666 w 3525"/>
                  <a:gd name="T17" fmla="*/ 558 h 825"/>
                  <a:gd name="T18" fmla="*/ 798 w 3525"/>
                  <a:gd name="T19" fmla="*/ 641 h 825"/>
                  <a:gd name="T20" fmla="*/ 800 w 3525"/>
                  <a:gd name="T21" fmla="*/ 640 h 825"/>
                  <a:gd name="T22" fmla="*/ 808 w 3525"/>
                  <a:gd name="T23" fmla="*/ 634 h 825"/>
                  <a:gd name="T24" fmla="*/ 828 w 3525"/>
                  <a:gd name="T25" fmla="*/ 625 h 825"/>
                  <a:gd name="T26" fmla="*/ 865 w 3525"/>
                  <a:gd name="T27" fmla="*/ 613 h 825"/>
                  <a:gd name="T28" fmla="*/ 920 w 3525"/>
                  <a:gd name="T29" fmla="*/ 600 h 825"/>
                  <a:gd name="T30" fmla="*/ 999 w 3525"/>
                  <a:gd name="T31" fmla="*/ 583 h 825"/>
                  <a:gd name="T32" fmla="*/ 1108 w 3525"/>
                  <a:gd name="T33" fmla="*/ 567 h 825"/>
                  <a:gd name="T34" fmla="*/ 1249 w 3525"/>
                  <a:gd name="T35" fmla="*/ 549 h 825"/>
                  <a:gd name="T36" fmla="*/ 1419 w 3525"/>
                  <a:gd name="T37" fmla="*/ 540 h 825"/>
                  <a:gd name="T38" fmla="*/ 1579 w 3525"/>
                  <a:gd name="T39" fmla="*/ 549 h 825"/>
                  <a:gd name="T40" fmla="*/ 1731 w 3525"/>
                  <a:gd name="T41" fmla="*/ 571 h 825"/>
                  <a:gd name="T42" fmla="*/ 1870 w 3525"/>
                  <a:gd name="T43" fmla="*/ 603 h 825"/>
                  <a:gd name="T44" fmla="*/ 1996 w 3525"/>
                  <a:gd name="T45" fmla="*/ 637 h 825"/>
                  <a:gd name="T46" fmla="*/ 2103 w 3525"/>
                  <a:gd name="T47" fmla="*/ 672 h 825"/>
                  <a:gd name="T48" fmla="*/ 2193 w 3525"/>
                  <a:gd name="T49" fmla="*/ 702 h 825"/>
                  <a:gd name="T50" fmla="*/ 2264 w 3525"/>
                  <a:gd name="T51" fmla="*/ 723 h 825"/>
                  <a:gd name="T52" fmla="*/ 2285 w 3525"/>
                  <a:gd name="T53" fmla="*/ 721 h 825"/>
                  <a:gd name="T54" fmla="*/ 2345 w 3525"/>
                  <a:gd name="T55" fmla="*/ 719 h 825"/>
                  <a:gd name="T56" fmla="*/ 2431 w 3525"/>
                  <a:gd name="T57" fmla="*/ 717 h 825"/>
                  <a:gd name="T58" fmla="*/ 2537 w 3525"/>
                  <a:gd name="T59" fmla="*/ 716 h 825"/>
                  <a:gd name="T60" fmla="*/ 2652 w 3525"/>
                  <a:gd name="T61" fmla="*/ 717 h 825"/>
                  <a:gd name="T62" fmla="*/ 2765 w 3525"/>
                  <a:gd name="T63" fmla="*/ 723 h 825"/>
                  <a:gd name="T64" fmla="*/ 2871 w 3525"/>
                  <a:gd name="T65" fmla="*/ 735 h 825"/>
                  <a:gd name="T66" fmla="*/ 2955 w 3525"/>
                  <a:gd name="T67" fmla="*/ 754 h 825"/>
                  <a:gd name="T68" fmla="*/ 3028 w 3525"/>
                  <a:gd name="T69" fmla="*/ 775 h 825"/>
                  <a:gd name="T70" fmla="*/ 3096 w 3525"/>
                  <a:gd name="T71" fmla="*/ 791 h 825"/>
                  <a:gd name="T72" fmla="*/ 3167 w 3525"/>
                  <a:gd name="T73" fmla="*/ 803 h 825"/>
                  <a:gd name="T74" fmla="*/ 3236 w 3525"/>
                  <a:gd name="T75" fmla="*/ 812 h 825"/>
                  <a:gd name="T76" fmla="*/ 3304 w 3525"/>
                  <a:gd name="T77" fmla="*/ 820 h 825"/>
                  <a:gd name="T78" fmla="*/ 3377 w 3525"/>
                  <a:gd name="T79" fmla="*/ 822 h 825"/>
                  <a:gd name="T80" fmla="*/ 3449 w 3525"/>
                  <a:gd name="T81" fmla="*/ 825 h 825"/>
                  <a:gd name="T82" fmla="*/ 3525 w 3525"/>
                  <a:gd name="T83" fmla="*/ 825 h 825"/>
                  <a:gd name="T84" fmla="*/ 3506 w 3525"/>
                  <a:gd name="T85" fmla="*/ 820 h 825"/>
                  <a:gd name="T86" fmla="*/ 3451 w 3525"/>
                  <a:gd name="T87" fmla="*/ 803 h 825"/>
                  <a:gd name="T88" fmla="*/ 3372 w 3525"/>
                  <a:gd name="T89" fmla="*/ 776 h 825"/>
                  <a:gd name="T90" fmla="*/ 3278 w 3525"/>
                  <a:gd name="T91" fmla="*/ 742 h 825"/>
                  <a:gd name="T92" fmla="*/ 3177 w 3525"/>
                  <a:gd name="T93" fmla="*/ 702 h 825"/>
                  <a:gd name="T94" fmla="*/ 3080 w 3525"/>
                  <a:gd name="T95" fmla="*/ 658 h 825"/>
                  <a:gd name="T96" fmla="*/ 2994 w 3525"/>
                  <a:gd name="T97" fmla="*/ 609 h 825"/>
                  <a:gd name="T98" fmla="*/ 2931 w 3525"/>
                  <a:gd name="T99" fmla="*/ 560 h 825"/>
                  <a:gd name="T100" fmla="*/ 2352 w 3525"/>
                  <a:gd name="T101" fmla="*/ 521 h 825"/>
                  <a:gd name="T102" fmla="*/ 2094 w 3525"/>
                  <a:gd name="T103" fmla="*/ 386 h 825"/>
                  <a:gd name="T104" fmla="*/ 1574 w 3525"/>
                  <a:gd name="T105" fmla="*/ 162 h 825"/>
                  <a:gd name="T106" fmla="*/ 1256 w 3525"/>
                  <a:gd name="T107" fmla="*/ 208 h 825"/>
                  <a:gd name="T108" fmla="*/ 932 w 3525"/>
                  <a:gd name="T109" fmla="*/ 248 h 825"/>
                  <a:gd name="T110" fmla="*/ 886 w 3525"/>
                  <a:gd name="T111" fmla="*/ 126 h 825"/>
                  <a:gd name="T112" fmla="*/ 830 w 3525"/>
                  <a:gd name="T113" fmla="*/ 59 h 8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525"/>
                  <a:gd name="T172" fmla="*/ 0 h 825"/>
                  <a:gd name="T173" fmla="*/ 3525 w 3525"/>
                  <a:gd name="T174" fmla="*/ 825 h 8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525" h="825">
                    <a:moveTo>
                      <a:pt x="835" y="69"/>
                    </a:moveTo>
                    <a:lnTo>
                      <a:pt x="763" y="0"/>
                    </a:lnTo>
                    <a:lnTo>
                      <a:pt x="519" y="222"/>
                    </a:lnTo>
                    <a:lnTo>
                      <a:pt x="0" y="473"/>
                    </a:lnTo>
                    <a:lnTo>
                      <a:pt x="6" y="472"/>
                    </a:lnTo>
                    <a:lnTo>
                      <a:pt x="22" y="470"/>
                    </a:lnTo>
                    <a:lnTo>
                      <a:pt x="45" y="466"/>
                    </a:lnTo>
                    <a:lnTo>
                      <a:pt x="78" y="462"/>
                    </a:lnTo>
                    <a:lnTo>
                      <a:pt x="117" y="459"/>
                    </a:lnTo>
                    <a:lnTo>
                      <a:pt x="163" y="457"/>
                    </a:lnTo>
                    <a:lnTo>
                      <a:pt x="216" y="456"/>
                    </a:lnTo>
                    <a:lnTo>
                      <a:pt x="272" y="457"/>
                    </a:lnTo>
                    <a:lnTo>
                      <a:pt x="332" y="463"/>
                    </a:lnTo>
                    <a:lnTo>
                      <a:pt x="397" y="472"/>
                    </a:lnTo>
                    <a:lnTo>
                      <a:pt x="463" y="484"/>
                    </a:lnTo>
                    <a:lnTo>
                      <a:pt x="530" y="503"/>
                    </a:lnTo>
                    <a:lnTo>
                      <a:pt x="598" y="527"/>
                    </a:lnTo>
                    <a:lnTo>
                      <a:pt x="666" y="558"/>
                    </a:lnTo>
                    <a:lnTo>
                      <a:pt x="733" y="595"/>
                    </a:lnTo>
                    <a:lnTo>
                      <a:pt x="798" y="641"/>
                    </a:lnTo>
                    <a:lnTo>
                      <a:pt x="800" y="640"/>
                    </a:lnTo>
                    <a:lnTo>
                      <a:pt x="803" y="637"/>
                    </a:lnTo>
                    <a:lnTo>
                      <a:pt x="808" y="634"/>
                    </a:lnTo>
                    <a:lnTo>
                      <a:pt x="817" y="629"/>
                    </a:lnTo>
                    <a:lnTo>
                      <a:pt x="828" y="625"/>
                    </a:lnTo>
                    <a:lnTo>
                      <a:pt x="844" y="619"/>
                    </a:lnTo>
                    <a:lnTo>
                      <a:pt x="865" y="613"/>
                    </a:lnTo>
                    <a:lnTo>
                      <a:pt x="890" y="607"/>
                    </a:lnTo>
                    <a:lnTo>
                      <a:pt x="920" y="600"/>
                    </a:lnTo>
                    <a:lnTo>
                      <a:pt x="957" y="592"/>
                    </a:lnTo>
                    <a:lnTo>
                      <a:pt x="999" y="583"/>
                    </a:lnTo>
                    <a:lnTo>
                      <a:pt x="1050" y="576"/>
                    </a:lnTo>
                    <a:lnTo>
                      <a:pt x="1108" y="567"/>
                    </a:lnTo>
                    <a:lnTo>
                      <a:pt x="1174" y="558"/>
                    </a:lnTo>
                    <a:lnTo>
                      <a:pt x="1249" y="549"/>
                    </a:lnTo>
                    <a:lnTo>
                      <a:pt x="1334" y="542"/>
                    </a:lnTo>
                    <a:lnTo>
                      <a:pt x="1419" y="540"/>
                    </a:lnTo>
                    <a:lnTo>
                      <a:pt x="1500" y="543"/>
                    </a:lnTo>
                    <a:lnTo>
                      <a:pt x="1579" y="549"/>
                    </a:lnTo>
                    <a:lnTo>
                      <a:pt x="1657" y="560"/>
                    </a:lnTo>
                    <a:lnTo>
                      <a:pt x="1731" y="571"/>
                    </a:lnTo>
                    <a:lnTo>
                      <a:pt x="1803" y="586"/>
                    </a:lnTo>
                    <a:lnTo>
                      <a:pt x="1870" y="603"/>
                    </a:lnTo>
                    <a:lnTo>
                      <a:pt x="1934" y="619"/>
                    </a:lnTo>
                    <a:lnTo>
                      <a:pt x="1996" y="637"/>
                    </a:lnTo>
                    <a:lnTo>
                      <a:pt x="2052" y="655"/>
                    </a:lnTo>
                    <a:lnTo>
                      <a:pt x="2103" y="672"/>
                    </a:lnTo>
                    <a:lnTo>
                      <a:pt x="2151" y="687"/>
                    </a:lnTo>
                    <a:lnTo>
                      <a:pt x="2193" y="702"/>
                    </a:lnTo>
                    <a:lnTo>
                      <a:pt x="2232" y="714"/>
                    </a:lnTo>
                    <a:lnTo>
                      <a:pt x="2264" y="723"/>
                    </a:lnTo>
                    <a:lnTo>
                      <a:pt x="2269" y="723"/>
                    </a:lnTo>
                    <a:lnTo>
                      <a:pt x="2285" y="721"/>
                    </a:lnTo>
                    <a:lnTo>
                      <a:pt x="2311" y="720"/>
                    </a:lnTo>
                    <a:lnTo>
                      <a:pt x="2345" y="719"/>
                    </a:lnTo>
                    <a:lnTo>
                      <a:pt x="2385" y="717"/>
                    </a:lnTo>
                    <a:lnTo>
                      <a:pt x="2431" y="717"/>
                    </a:lnTo>
                    <a:lnTo>
                      <a:pt x="2482" y="716"/>
                    </a:lnTo>
                    <a:lnTo>
                      <a:pt x="2537" y="716"/>
                    </a:lnTo>
                    <a:lnTo>
                      <a:pt x="2594" y="716"/>
                    </a:lnTo>
                    <a:lnTo>
                      <a:pt x="2652" y="717"/>
                    </a:lnTo>
                    <a:lnTo>
                      <a:pt x="2708" y="720"/>
                    </a:lnTo>
                    <a:lnTo>
                      <a:pt x="2765" y="723"/>
                    </a:lnTo>
                    <a:lnTo>
                      <a:pt x="2819" y="727"/>
                    </a:lnTo>
                    <a:lnTo>
                      <a:pt x="2871" y="735"/>
                    </a:lnTo>
                    <a:lnTo>
                      <a:pt x="2915" y="744"/>
                    </a:lnTo>
                    <a:lnTo>
                      <a:pt x="2955" y="754"/>
                    </a:lnTo>
                    <a:lnTo>
                      <a:pt x="2991" y="765"/>
                    </a:lnTo>
                    <a:lnTo>
                      <a:pt x="3028" y="775"/>
                    </a:lnTo>
                    <a:lnTo>
                      <a:pt x="3063" y="784"/>
                    </a:lnTo>
                    <a:lnTo>
                      <a:pt x="3096" y="791"/>
                    </a:lnTo>
                    <a:lnTo>
                      <a:pt x="3132" y="797"/>
                    </a:lnTo>
                    <a:lnTo>
                      <a:pt x="3167" y="803"/>
                    </a:lnTo>
                    <a:lnTo>
                      <a:pt x="3200" y="809"/>
                    </a:lnTo>
                    <a:lnTo>
                      <a:pt x="3236" y="812"/>
                    </a:lnTo>
                    <a:lnTo>
                      <a:pt x="3271" y="817"/>
                    </a:lnTo>
                    <a:lnTo>
                      <a:pt x="3304" y="820"/>
                    </a:lnTo>
                    <a:lnTo>
                      <a:pt x="3340" y="821"/>
                    </a:lnTo>
                    <a:lnTo>
                      <a:pt x="3377" y="822"/>
                    </a:lnTo>
                    <a:lnTo>
                      <a:pt x="3412" y="824"/>
                    </a:lnTo>
                    <a:lnTo>
                      <a:pt x="3449" y="825"/>
                    </a:lnTo>
                    <a:lnTo>
                      <a:pt x="3486" y="825"/>
                    </a:lnTo>
                    <a:lnTo>
                      <a:pt x="3525" y="825"/>
                    </a:lnTo>
                    <a:lnTo>
                      <a:pt x="3520" y="824"/>
                    </a:lnTo>
                    <a:lnTo>
                      <a:pt x="3506" y="820"/>
                    </a:lnTo>
                    <a:lnTo>
                      <a:pt x="3481" y="812"/>
                    </a:lnTo>
                    <a:lnTo>
                      <a:pt x="3451" y="803"/>
                    </a:lnTo>
                    <a:lnTo>
                      <a:pt x="3414" y="790"/>
                    </a:lnTo>
                    <a:lnTo>
                      <a:pt x="3372" y="776"/>
                    </a:lnTo>
                    <a:lnTo>
                      <a:pt x="3326" y="760"/>
                    </a:lnTo>
                    <a:lnTo>
                      <a:pt x="3278" y="742"/>
                    </a:lnTo>
                    <a:lnTo>
                      <a:pt x="3229" y="723"/>
                    </a:lnTo>
                    <a:lnTo>
                      <a:pt x="3177" y="702"/>
                    </a:lnTo>
                    <a:lnTo>
                      <a:pt x="3128" y="680"/>
                    </a:lnTo>
                    <a:lnTo>
                      <a:pt x="3080" y="658"/>
                    </a:lnTo>
                    <a:lnTo>
                      <a:pt x="3035" y="634"/>
                    </a:lnTo>
                    <a:lnTo>
                      <a:pt x="2994" y="609"/>
                    </a:lnTo>
                    <a:lnTo>
                      <a:pt x="2959" y="585"/>
                    </a:lnTo>
                    <a:lnTo>
                      <a:pt x="2931" y="560"/>
                    </a:lnTo>
                    <a:lnTo>
                      <a:pt x="2622" y="473"/>
                    </a:lnTo>
                    <a:lnTo>
                      <a:pt x="2352" y="521"/>
                    </a:lnTo>
                    <a:lnTo>
                      <a:pt x="2206" y="456"/>
                    </a:lnTo>
                    <a:lnTo>
                      <a:pt x="2094" y="386"/>
                    </a:lnTo>
                    <a:lnTo>
                      <a:pt x="1803" y="356"/>
                    </a:lnTo>
                    <a:lnTo>
                      <a:pt x="1574" y="162"/>
                    </a:lnTo>
                    <a:lnTo>
                      <a:pt x="1401" y="264"/>
                    </a:lnTo>
                    <a:lnTo>
                      <a:pt x="1256" y="208"/>
                    </a:lnTo>
                    <a:lnTo>
                      <a:pt x="1017" y="208"/>
                    </a:lnTo>
                    <a:lnTo>
                      <a:pt x="932" y="248"/>
                    </a:lnTo>
                    <a:lnTo>
                      <a:pt x="920" y="197"/>
                    </a:lnTo>
                    <a:lnTo>
                      <a:pt x="886" y="126"/>
                    </a:lnTo>
                    <a:lnTo>
                      <a:pt x="898" y="75"/>
                    </a:lnTo>
                    <a:lnTo>
                      <a:pt x="830" y="59"/>
                    </a:lnTo>
                    <a:lnTo>
                      <a:pt x="835" y="69"/>
                    </a:lnTo>
                    <a:close/>
                  </a:path>
                </a:pathLst>
              </a:custGeom>
              <a:solidFill>
                <a:srgbClr val="0099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5" name="Freeform 210"/>
              <p:cNvSpPr>
                <a:spLocks/>
              </p:cNvSpPr>
              <p:nvPr/>
            </p:nvSpPr>
            <p:spPr bwMode="auto">
              <a:xfrm>
                <a:off x="4715" y="3575"/>
                <a:ext cx="594" cy="180"/>
              </a:xfrm>
              <a:custGeom>
                <a:avLst/>
                <a:gdLst>
                  <a:gd name="T0" fmla="*/ 95 w 1189"/>
                  <a:gd name="T1" fmla="*/ 137 h 361"/>
                  <a:gd name="T2" fmla="*/ 273 w 1189"/>
                  <a:gd name="T3" fmla="*/ 128 h 361"/>
                  <a:gd name="T4" fmla="*/ 478 w 1189"/>
                  <a:gd name="T5" fmla="*/ 212 h 361"/>
                  <a:gd name="T6" fmla="*/ 522 w 1189"/>
                  <a:gd name="T7" fmla="*/ 255 h 361"/>
                  <a:gd name="T8" fmla="*/ 788 w 1189"/>
                  <a:gd name="T9" fmla="*/ 336 h 361"/>
                  <a:gd name="T10" fmla="*/ 864 w 1189"/>
                  <a:gd name="T11" fmla="*/ 348 h 361"/>
                  <a:gd name="T12" fmla="*/ 938 w 1189"/>
                  <a:gd name="T13" fmla="*/ 356 h 361"/>
                  <a:gd name="T14" fmla="*/ 1011 w 1189"/>
                  <a:gd name="T15" fmla="*/ 359 h 361"/>
                  <a:gd name="T16" fmla="*/ 1074 w 1189"/>
                  <a:gd name="T17" fmla="*/ 361 h 361"/>
                  <a:gd name="T18" fmla="*/ 1127 w 1189"/>
                  <a:gd name="T19" fmla="*/ 359 h 361"/>
                  <a:gd name="T20" fmla="*/ 1166 w 1189"/>
                  <a:gd name="T21" fmla="*/ 358 h 361"/>
                  <a:gd name="T22" fmla="*/ 1185 w 1189"/>
                  <a:gd name="T23" fmla="*/ 356 h 361"/>
                  <a:gd name="T24" fmla="*/ 1160 w 1189"/>
                  <a:gd name="T25" fmla="*/ 355 h 361"/>
                  <a:gd name="T26" fmla="*/ 1116 w 1189"/>
                  <a:gd name="T27" fmla="*/ 354 h 361"/>
                  <a:gd name="T28" fmla="*/ 1083 w 1189"/>
                  <a:gd name="T29" fmla="*/ 354 h 361"/>
                  <a:gd name="T30" fmla="*/ 1055 w 1189"/>
                  <a:gd name="T31" fmla="*/ 354 h 361"/>
                  <a:gd name="T32" fmla="*/ 1028 w 1189"/>
                  <a:gd name="T33" fmla="*/ 349 h 361"/>
                  <a:gd name="T34" fmla="*/ 998 w 1189"/>
                  <a:gd name="T35" fmla="*/ 340 h 361"/>
                  <a:gd name="T36" fmla="*/ 963 w 1189"/>
                  <a:gd name="T37" fmla="*/ 325 h 361"/>
                  <a:gd name="T38" fmla="*/ 915 w 1189"/>
                  <a:gd name="T39" fmla="*/ 302 h 361"/>
                  <a:gd name="T40" fmla="*/ 855 w 1189"/>
                  <a:gd name="T41" fmla="*/ 269 h 361"/>
                  <a:gd name="T42" fmla="*/ 802 w 1189"/>
                  <a:gd name="T43" fmla="*/ 247 h 361"/>
                  <a:gd name="T44" fmla="*/ 758 w 1189"/>
                  <a:gd name="T45" fmla="*/ 233 h 361"/>
                  <a:gd name="T46" fmla="*/ 719 w 1189"/>
                  <a:gd name="T47" fmla="*/ 226 h 361"/>
                  <a:gd name="T48" fmla="*/ 684 w 1189"/>
                  <a:gd name="T49" fmla="*/ 223 h 361"/>
                  <a:gd name="T50" fmla="*/ 649 w 1189"/>
                  <a:gd name="T51" fmla="*/ 218 h 361"/>
                  <a:gd name="T52" fmla="*/ 612 w 1189"/>
                  <a:gd name="T53" fmla="*/ 212 h 361"/>
                  <a:gd name="T54" fmla="*/ 570 w 1189"/>
                  <a:gd name="T55" fmla="*/ 202 h 361"/>
                  <a:gd name="T56" fmla="*/ 495 w 1189"/>
                  <a:gd name="T57" fmla="*/ 171 h 361"/>
                  <a:gd name="T58" fmla="*/ 405 w 1189"/>
                  <a:gd name="T59" fmla="*/ 110 h 361"/>
                  <a:gd name="T60" fmla="*/ 337 w 1189"/>
                  <a:gd name="T61" fmla="*/ 48 h 361"/>
                  <a:gd name="T62" fmla="*/ 296 w 1189"/>
                  <a:gd name="T63" fmla="*/ 6 h 361"/>
                  <a:gd name="T64" fmla="*/ 0 w 1189"/>
                  <a:gd name="T65" fmla="*/ 92 h 36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89"/>
                  <a:gd name="T100" fmla="*/ 0 h 361"/>
                  <a:gd name="T101" fmla="*/ 1189 w 1189"/>
                  <a:gd name="T102" fmla="*/ 361 h 36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89" h="361">
                    <a:moveTo>
                      <a:pt x="0" y="92"/>
                    </a:moveTo>
                    <a:lnTo>
                      <a:pt x="95" y="137"/>
                    </a:lnTo>
                    <a:lnTo>
                      <a:pt x="204" y="110"/>
                    </a:lnTo>
                    <a:lnTo>
                      <a:pt x="273" y="128"/>
                    </a:lnTo>
                    <a:lnTo>
                      <a:pt x="293" y="73"/>
                    </a:lnTo>
                    <a:lnTo>
                      <a:pt x="478" y="212"/>
                    </a:lnTo>
                    <a:lnTo>
                      <a:pt x="330" y="195"/>
                    </a:lnTo>
                    <a:lnTo>
                      <a:pt x="522" y="255"/>
                    </a:lnTo>
                    <a:lnTo>
                      <a:pt x="751" y="327"/>
                    </a:lnTo>
                    <a:lnTo>
                      <a:pt x="788" y="336"/>
                    </a:lnTo>
                    <a:lnTo>
                      <a:pt x="825" y="343"/>
                    </a:lnTo>
                    <a:lnTo>
                      <a:pt x="864" y="348"/>
                    </a:lnTo>
                    <a:lnTo>
                      <a:pt x="901" y="352"/>
                    </a:lnTo>
                    <a:lnTo>
                      <a:pt x="938" y="356"/>
                    </a:lnTo>
                    <a:lnTo>
                      <a:pt x="975" y="358"/>
                    </a:lnTo>
                    <a:lnTo>
                      <a:pt x="1011" y="359"/>
                    </a:lnTo>
                    <a:lnTo>
                      <a:pt x="1042" y="361"/>
                    </a:lnTo>
                    <a:lnTo>
                      <a:pt x="1074" y="361"/>
                    </a:lnTo>
                    <a:lnTo>
                      <a:pt x="1102" y="361"/>
                    </a:lnTo>
                    <a:lnTo>
                      <a:pt x="1127" y="359"/>
                    </a:lnTo>
                    <a:lnTo>
                      <a:pt x="1148" y="359"/>
                    </a:lnTo>
                    <a:lnTo>
                      <a:pt x="1166" y="358"/>
                    </a:lnTo>
                    <a:lnTo>
                      <a:pt x="1178" y="358"/>
                    </a:lnTo>
                    <a:lnTo>
                      <a:pt x="1185" y="356"/>
                    </a:lnTo>
                    <a:lnTo>
                      <a:pt x="1189" y="356"/>
                    </a:lnTo>
                    <a:lnTo>
                      <a:pt x="1160" y="355"/>
                    </a:lnTo>
                    <a:lnTo>
                      <a:pt x="1138" y="354"/>
                    </a:lnTo>
                    <a:lnTo>
                      <a:pt x="1116" y="354"/>
                    </a:lnTo>
                    <a:lnTo>
                      <a:pt x="1099" y="354"/>
                    </a:lnTo>
                    <a:lnTo>
                      <a:pt x="1083" y="354"/>
                    </a:lnTo>
                    <a:lnTo>
                      <a:pt x="1067" y="354"/>
                    </a:lnTo>
                    <a:lnTo>
                      <a:pt x="1055" y="354"/>
                    </a:lnTo>
                    <a:lnTo>
                      <a:pt x="1040" y="352"/>
                    </a:lnTo>
                    <a:lnTo>
                      <a:pt x="1028" y="349"/>
                    </a:lnTo>
                    <a:lnTo>
                      <a:pt x="1014" y="346"/>
                    </a:lnTo>
                    <a:lnTo>
                      <a:pt x="998" y="340"/>
                    </a:lnTo>
                    <a:lnTo>
                      <a:pt x="982" y="334"/>
                    </a:lnTo>
                    <a:lnTo>
                      <a:pt x="963" y="325"/>
                    </a:lnTo>
                    <a:lnTo>
                      <a:pt x="940" y="315"/>
                    </a:lnTo>
                    <a:lnTo>
                      <a:pt x="915" y="302"/>
                    </a:lnTo>
                    <a:lnTo>
                      <a:pt x="885" y="285"/>
                    </a:lnTo>
                    <a:lnTo>
                      <a:pt x="855" y="269"/>
                    </a:lnTo>
                    <a:lnTo>
                      <a:pt x="827" y="257"/>
                    </a:lnTo>
                    <a:lnTo>
                      <a:pt x="802" y="247"/>
                    </a:lnTo>
                    <a:lnTo>
                      <a:pt x="779" y="239"/>
                    </a:lnTo>
                    <a:lnTo>
                      <a:pt x="758" y="233"/>
                    </a:lnTo>
                    <a:lnTo>
                      <a:pt x="739" y="229"/>
                    </a:lnTo>
                    <a:lnTo>
                      <a:pt x="719" y="226"/>
                    </a:lnTo>
                    <a:lnTo>
                      <a:pt x="702" y="224"/>
                    </a:lnTo>
                    <a:lnTo>
                      <a:pt x="684" y="223"/>
                    </a:lnTo>
                    <a:lnTo>
                      <a:pt x="667" y="221"/>
                    </a:lnTo>
                    <a:lnTo>
                      <a:pt x="649" y="218"/>
                    </a:lnTo>
                    <a:lnTo>
                      <a:pt x="631" y="217"/>
                    </a:lnTo>
                    <a:lnTo>
                      <a:pt x="612" y="212"/>
                    </a:lnTo>
                    <a:lnTo>
                      <a:pt x="591" y="208"/>
                    </a:lnTo>
                    <a:lnTo>
                      <a:pt x="570" y="202"/>
                    </a:lnTo>
                    <a:lnTo>
                      <a:pt x="545" y="193"/>
                    </a:lnTo>
                    <a:lnTo>
                      <a:pt x="495" y="171"/>
                    </a:lnTo>
                    <a:lnTo>
                      <a:pt x="450" y="141"/>
                    </a:lnTo>
                    <a:lnTo>
                      <a:pt x="405" y="110"/>
                    </a:lnTo>
                    <a:lnTo>
                      <a:pt x="368" y="77"/>
                    </a:lnTo>
                    <a:lnTo>
                      <a:pt x="337" y="48"/>
                    </a:lnTo>
                    <a:lnTo>
                      <a:pt x="312" y="24"/>
                    </a:lnTo>
                    <a:lnTo>
                      <a:pt x="296" y="6"/>
                    </a:lnTo>
                    <a:lnTo>
                      <a:pt x="291" y="0"/>
                    </a:lnTo>
                    <a:lnTo>
                      <a:pt x="0" y="9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6" name="Freeform 211"/>
              <p:cNvSpPr>
                <a:spLocks/>
              </p:cNvSpPr>
              <p:nvPr/>
            </p:nvSpPr>
            <p:spPr bwMode="auto">
              <a:xfrm>
                <a:off x="3600" y="3320"/>
                <a:ext cx="1236" cy="398"/>
              </a:xfrm>
              <a:custGeom>
                <a:avLst/>
                <a:gdLst>
                  <a:gd name="T0" fmla="*/ 2314 w 2471"/>
                  <a:gd name="T1" fmla="*/ 794 h 794"/>
                  <a:gd name="T2" fmla="*/ 2221 w 2471"/>
                  <a:gd name="T3" fmla="*/ 666 h 794"/>
                  <a:gd name="T4" fmla="*/ 2142 w 2471"/>
                  <a:gd name="T5" fmla="*/ 675 h 794"/>
                  <a:gd name="T6" fmla="*/ 2027 w 2471"/>
                  <a:gd name="T7" fmla="*/ 674 h 794"/>
                  <a:gd name="T8" fmla="*/ 1907 w 2471"/>
                  <a:gd name="T9" fmla="*/ 644 h 794"/>
                  <a:gd name="T10" fmla="*/ 1794 w 2471"/>
                  <a:gd name="T11" fmla="*/ 546 h 794"/>
                  <a:gd name="T12" fmla="*/ 1716 w 2471"/>
                  <a:gd name="T13" fmla="*/ 473 h 794"/>
                  <a:gd name="T14" fmla="*/ 1632 w 2471"/>
                  <a:gd name="T15" fmla="*/ 494 h 794"/>
                  <a:gd name="T16" fmla="*/ 1540 w 2471"/>
                  <a:gd name="T17" fmla="*/ 560 h 794"/>
                  <a:gd name="T18" fmla="*/ 1475 w 2471"/>
                  <a:gd name="T19" fmla="*/ 537 h 794"/>
                  <a:gd name="T20" fmla="*/ 1346 w 2471"/>
                  <a:gd name="T21" fmla="*/ 472 h 794"/>
                  <a:gd name="T22" fmla="*/ 1217 w 2471"/>
                  <a:gd name="T23" fmla="*/ 467 h 794"/>
                  <a:gd name="T24" fmla="*/ 1155 w 2471"/>
                  <a:gd name="T25" fmla="*/ 467 h 794"/>
                  <a:gd name="T26" fmla="*/ 1113 w 2471"/>
                  <a:gd name="T27" fmla="*/ 484 h 794"/>
                  <a:gd name="T28" fmla="*/ 998 w 2471"/>
                  <a:gd name="T29" fmla="*/ 548 h 794"/>
                  <a:gd name="T30" fmla="*/ 1007 w 2471"/>
                  <a:gd name="T31" fmla="*/ 325 h 794"/>
                  <a:gd name="T32" fmla="*/ 995 w 2471"/>
                  <a:gd name="T33" fmla="*/ 265 h 794"/>
                  <a:gd name="T34" fmla="*/ 1189 w 2471"/>
                  <a:gd name="T35" fmla="*/ 427 h 794"/>
                  <a:gd name="T36" fmla="*/ 1455 w 2471"/>
                  <a:gd name="T37" fmla="*/ 295 h 794"/>
                  <a:gd name="T38" fmla="*/ 1037 w 2471"/>
                  <a:gd name="T39" fmla="*/ 197 h 794"/>
                  <a:gd name="T40" fmla="*/ 944 w 2471"/>
                  <a:gd name="T41" fmla="*/ 243 h 794"/>
                  <a:gd name="T42" fmla="*/ 861 w 2471"/>
                  <a:gd name="T43" fmla="*/ 328 h 794"/>
                  <a:gd name="T44" fmla="*/ 803 w 2471"/>
                  <a:gd name="T45" fmla="*/ 430 h 794"/>
                  <a:gd name="T46" fmla="*/ 665 w 2471"/>
                  <a:gd name="T47" fmla="*/ 508 h 794"/>
                  <a:gd name="T48" fmla="*/ 573 w 2471"/>
                  <a:gd name="T49" fmla="*/ 549 h 794"/>
                  <a:gd name="T50" fmla="*/ 492 w 2471"/>
                  <a:gd name="T51" fmla="*/ 591 h 794"/>
                  <a:gd name="T52" fmla="*/ 400 w 2471"/>
                  <a:gd name="T53" fmla="*/ 632 h 794"/>
                  <a:gd name="T54" fmla="*/ 288 w 2471"/>
                  <a:gd name="T55" fmla="*/ 671 h 794"/>
                  <a:gd name="T56" fmla="*/ 219 w 2471"/>
                  <a:gd name="T57" fmla="*/ 701 h 794"/>
                  <a:gd name="T58" fmla="*/ 178 w 2471"/>
                  <a:gd name="T59" fmla="*/ 723 h 794"/>
                  <a:gd name="T60" fmla="*/ 109 w 2471"/>
                  <a:gd name="T61" fmla="*/ 736 h 794"/>
                  <a:gd name="T62" fmla="*/ 2 w 2471"/>
                  <a:gd name="T63" fmla="*/ 744 h 794"/>
                  <a:gd name="T64" fmla="*/ 34 w 2471"/>
                  <a:gd name="T65" fmla="*/ 736 h 794"/>
                  <a:gd name="T66" fmla="*/ 102 w 2471"/>
                  <a:gd name="T67" fmla="*/ 713 h 794"/>
                  <a:gd name="T68" fmla="*/ 201 w 2471"/>
                  <a:gd name="T69" fmla="*/ 669 h 794"/>
                  <a:gd name="T70" fmla="*/ 323 w 2471"/>
                  <a:gd name="T71" fmla="*/ 601 h 794"/>
                  <a:gd name="T72" fmla="*/ 462 w 2471"/>
                  <a:gd name="T73" fmla="*/ 524 h 794"/>
                  <a:gd name="T74" fmla="*/ 605 w 2471"/>
                  <a:gd name="T75" fmla="*/ 444 h 794"/>
                  <a:gd name="T76" fmla="*/ 734 w 2471"/>
                  <a:gd name="T77" fmla="*/ 356 h 794"/>
                  <a:gd name="T78" fmla="*/ 831 w 2471"/>
                  <a:gd name="T79" fmla="*/ 267 h 794"/>
                  <a:gd name="T80" fmla="*/ 901 w 2471"/>
                  <a:gd name="T81" fmla="*/ 208 h 794"/>
                  <a:gd name="T82" fmla="*/ 977 w 2471"/>
                  <a:gd name="T83" fmla="*/ 161 h 794"/>
                  <a:gd name="T84" fmla="*/ 1055 w 2471"/>
                  <a:gd name="T85" fmla="*/ 118 h 794"/>
                  <a:gd name="T86" fmla="*/ 1201 w 2471"/>
                  <a:gd name="T87" fmla="*/ 0 h 794"/>
                  <a:gd name="T88" fmla="*/ 1233 w 2471"/>
                  <a:gd name="T89" fmla="*/ 14 h 794"/>
                  <a:gd name="T90" fmla="*/ 1309 w 2471"/>
                  <a:gd name="T91" fmla="*/ 92 h 794"/>
                  <a:gd name="T92" fmla="*/ 1431 w 2471"/>
                  <a:gd name="T93" fmla="*/ 216 h 794"/>
                  <a:gd name="T94" fmla="*/ 1577 w 2471"/>
                  <a:gd name="T95" fmla="*/ 295 h 794"/>
                  <a:gd name="T96" fmla="*/ 1699 w 2471"/>
                  <a:gd name="T97" fmla="*/ 377 h 794"/>
                  <a:gd name="T98" fmla="*/ 1831 w 2471"/>
                  <a:gd name="T99" fmla="*/ 499 h 794"/>
                  <a:gd name="T100" fmla="*/ 1914 w 2471"/>
                  <a:gd name="T101" fmla="*/ 551 h 794"/>
                  <a:gd name="T102" fmla="*/ 2002 w 2471"/>
                  <a:gd name="T103" fmla="*/ 592 h 794"/>
                  <a:gd name="T104" fmla="*/ 2106 w 2471"/>
                  <a:gd name="T105" fmla="*/ 612 h 794"/>
                  <a:gd name="T106" fmla="*/ 2230 w 2471"/>
                  <a:gd name="T107" fmla="*/ 601 h 79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471"/>
                  <a:gd name="T163" fmla="*/ 0 h 794"/>
                  <a:gd name="T164" fmla="*/ 2471 w 2471"/>
                  <a:gd name="T165" fmla="*/ 794 h 79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471" h="794">
                    <a:moveTo>
                      <a:pt x="2339" y="652"/>
                    </a:moveTo>
                    <a:lnTo>
                      <a:pt x="2374" y="723"/>
                    </a:lnTo>
                    <a:lnTo>
                      <a:pt x="2471" y="692"/>
                    </a:lnTo>
                    <a:lnTo>
                      <a:pt x="2314" y="794"/>
                    </a:lnTo>
                    <a:lnTo>
                      <a:pt x="2242" y="662"/>
                    </a:lnTo>
                    <a:lnTo>
                      <a:pt x="2240" y="662"/>
                    </a:lnTo>
                    <a:lnTo>
                      <a:pt x="2233" y="663"/>
                    </a:lnTo>
                    <a:lnTo>
                      <a:pt x="2221" y="666"/>
                    </a:lnTo>
                    <a:lnTo>
                      <a:pt x="2205" y="668"/>
                    </a:lnTo>
                    <a:lnTo>
                      <a:pt x="2187" y="671"/>
                    </a:lnTo>
                    <a:lnTo>
                      <a:pt x="2164" y="674"/>
                    </a:lnTo>
                    <a:lnTo>
                      <a:pt x="2142" y="675"/>
                    </a:lnTo>
                    <a:lnTo>
                      <a:pt x="2115" y="677"/>
                    </a:lnTo>
                    <a:lnTo>
                      <a:pt x="2087" y="677"/>
                    </a:lnTo>
                    <a:lnTo>
                      <a:pt x="2057" y="677"/>
                    </a:lnTo>
                    <a:lnTo>
                      <a:pt x="2027" y="674"/>
                    </a:lnTo>
                    <a:lnTo>
                      <a:pt x="1997" y="669"/>
                    </a:lnTo>
                    <a:lnTo>
                      <a:pt x="1965" y="663"/>
                    </a:lnTo>
                    <a:lnTo>
                      <a:pt x="1935" y="656"/>
                    </a:lnTo>
                    <a:lnTo>
                      <a:pt x="1907" y="644"/>
                    </a:lnTo>
                    <a:lnTo>
                      <a:pt x="1879" y="631"/>
                    </a:lnTo>
                    <a:lnTo>
                      <a:pt x="1835" y="601"/>
                    </a:lnTo>
                    <a:lnTo>
                      <a:pt x="1810" y="573"/>
                    </a:lnTo>
                    <a:lnTo>
                      <a:pt x="1794" y="546"/>
                    </a:lnTo>
                    <a:lnTo>
                      <a:pt x="1783" y="522"/>
                    </a:lnTo>
                    <a:lnTo>
                      <a:pt x="1773" y="502"/>
                    </a:lnTo>
                    <a:lnTo>
                      <a:pt x="1752" y="485"/>
                    </a:lnTo>
                    <a:lnTo>
                      <a:pt x="1716" y="473"/>
                    </a:lnTo>
                    <a:lnTo>
                      <a:pt x="1662" y="467"/>
                    </a:lnTo>
                    <a:lnTo>
                      <a:pt x="1658" y="470"/>
                    </a:lnTo>
                    <a:lnTo>
                      <a:pt x="1648" y="481"/>
                    </a:lnTo>
                    <a:lnTo>
                      <a:pt x="1632" y="494"/>
                    </a:lnTo>
                    <a:lnTo>
                      <a:pt x="1612" y="511"/>
                    </a:lnTo>
                    <a:lnTo>
                      <a:pt x="1589" y="528"/>
                    </a:lnTo>
                    <a:lnTo>
                      <a:pt x="1565" y="545"/>
                    </a:lnTo>
                    <a:lnTo>
                      <a:pt x="1540" y="560"/>
                    </a:lnTo>
                    <a:lnTo>
                      <a:pt x="1515" y="570"/>
                    </a:lnTo>
                    <a:lnTo>
                      <a:pt x="1510" y="565"/>
                    </a:lnTo>
                    <a:lnTo>
                      <a:pt x="1496" y="554"/>
                    </a:lnTo>
                    <a:lnTo>
                      <a:pt x="1475" y="537"/>
                    </a:lnTo>
                    <a:lnTo>
                      <a:pt x="1448" y="518"/>
                    </a:lnTo>
                    <a:lnTo>
                      <a:pt x="1417" y="500"/>
                    </a:lnTo>
                    <a:lnTo>
                      <a:pt x="1381" y="484"/>
                    </a:lnTo>
                    <a:lnTo>
                      <a:pt x="1346" y="472"/>
                    </a:lnTo>
                    <a:lnTo>
                      <a:pt x="1309" y="467"/>
                    </a:lnTo>
                    <a:lnTo>
                      <a:pt x="1274" y="467"/>
                    </a:lnTo>
                    <a:lnTo>
                      <a:pt x="1244" y="467"/>
                    </a:lnTo>
                    <a:lnTo>
                      <a:pt x="1217" y="467"/>
                    </a:lnTo>
                    <a:lnTo>
                      <a:pt x="1194" y="467"/>
                    </a:lnTo>
                    <a:lnTo>
                      <a:pt x="1177" y="467"/>
                    </a:lnTo>
                    <a:lnTo>
                      <a:pt x="1162" y="467"/>
                    </a:lnTo>
                    <a:lnTo>
                      <a:pt x="1155" y="467"/>
                    </a:lnTo>
                    <a:lnTo>
                      <a:pt x="1152" y="467"/>
                    </a:lnTo>
                    <a:lnTo>
                      <a:pt x="1147" y="469"/>
                    </a:lnTo>
                    <a:lnTo>
                      <a:pt x="1134" y="475"/>
                    </a:lnTo>
                    <a:lnTo>
                      <a:pt x="1113" y="484"/>
                    </a:lnTo>
                    <a:lnTo>
                      <a:pt x="1088" y="496"/>
                    </a:lnTo>
                    <a:lnTo>
                      <a:pt x="1060" y="511"/>
                    </a:lnTo>
                    <a:lnTo>
                      <a:pt x="1028" y="528"/>
                    </a:lnTo>
                    <a:lnTo>
                      <a:pt x="998" y="548"/>
                    </a:lnTo>
                    <a:lnTo>
                      <a:pt x="970" y="570"/>
                    </a:lnTo>
                    <a:lnTo>
                      <a:pt x="1030" y="447"/>
                    </a:lnTo>
                    <a:lnTo>
                      <a:pt x="970" y="407"/>
                    </a:lnTo>
                    <a:lnTo>
                      <a:pt x="1007" y="325"/>
                    </a:lnTo>
                    <a:lnTo>
                      <a:pt x="886" y="447"/>
                    </a:lnTo>
                    <a:lnTo>
                      <a:pt x="910" y="335"/>
                    </a:lnTo>
                    <a:lnTo>
                      <a:pt x="946" y="285"/>
                    </a:lnTo>
                    <a:lnTo>
                      <a:pt x="995" y="265"/>
                    </a:lnTo>
                    <a:lnTo>
                      <a:pt x="1043" y="325"/>
                    </a:lnTo>
                    <a:lnTo>
                      <a:pt x="1030" y="365"/>
                    </a:lnTo>
                    <a:lnTo>
                      <a:pt x="1067" y="467"/>
                    </a:lnTo>
                    <a:lnTo>
                      <a:pt x="1189" y="427"/>
                    </a:lnTo>
                    <a:lnTo>
                      <a:pt x="1371" y="427"/>
                    </a:lnTo>
                    <a:lnTo>
                      <a:pt x="1503" y="488"/>
                    </a:lnTo>
                    <a:lnTo>
                      <a:pt x="1637" y="407"/>
                    </a:lnTo>
                    <a:lnTo>
                      <a:pt x="1455" y="295"/>
                    </a:lnTo>
                    <a:lnTo>
                      <a:pt x="1309" y="184"/>
                    </a:lnTo>
                    <a:lnTo>
                      <a:pt x="1212" y="81"/>
                    </a:lnTo>
                    <a:lnTo>
                      <a:pt x="1043" y="194"/>
                    </a:lnTo>
                    <a:lnTo>
                      <a:pt x="1037" y="197"/>
                    </a:lnTo>
                    <a:lnTo>
                      <a:pt x="1021" y="203"/>
                    </a:lnTo>
                    <a:lnTo>
                      <a:pt x="998" y="213"/>
                    </a:lnTo>
                    <a:lnTo>
                      <a:pt x="972" y="227"/>
                    </a:lnTo>
                    <a:lnTo>
                      <a:pt x="944" y="243"/>
                    </a:lnTo>
                    <a:lnTo>
                      <a:pt x="916" y="262"/>
                    </a:lnTo>
                    <a:lnTo>
                      <a:pt x="891" y="282"/>
                    </a:lnTo>
                    <a:lnTo>
                      <a:pt x="873" y="304"/>
                    </a:lnTo>
                    <a:lnTo>
                      <a:pt x="861" y="328"/>
                    </a:lnTo>
                    <a:lnTo>
                      <a:pt x="850" y="353"/>
                    </a:lnTo>
                    <a:lnTo>
                      <a:pt x="838" y="378"/>
                    </a:lnTo>
                    <a:lnTo>
                      <a:pt x="822" y="405"/>
                    </a:lnTo>
                    <a:lnTo>
                      <a:pt x="803" y="430"/>
                    </a:lnTo>
                    <a:lnTo>
                      <a:pt x="776" y="456"/>
                    </a:lnTo>
                    <a:lnTo>
                      <a:pt x="739" y="478"/>
                    </a:lnTo>
                    <a:lnTo>
                      <a:pt x="691" y="499"/>
                    </a:lnTo>
                    <a:lnTo>
                      <a:pt x="665" y="508"/>
                    </a:lnTo>
                    <a:lnTo>
                      <a:pt x="640" y="518"/>
                    </a:lnTo>
                    <a:lnTo>
                      <a:pt x="617" y="528"/>
                    </a:lnTo>
                    <a:lnTo>
                      <a:pt x="594" y="539"/>
                    </a:lnTo>
                    <a:lnTo>
                      <a:pt x="573" y="549"/>
                    </a:lnTo>
                    <a:lnTo>
                      <a:pt x="552" y="560"/>
                    </a:lnTo>
                    <a:lnTo>
                      <a:pt x="533" y="570"/>
                    </a:lnTo>
                    <a:lnTo>
                      <a:pt x="512" y="580"/>
                    </a:lnTo>
                    <a:lnTo>
                      <a:pt x="492" y="591"/>
                    </a:lnTo>
                    <a:lnTo>
                      <a:pt x="471" y="601"/>
                    </a:lnTo>
                    <a:lnTo>
                      <a:pt x="448" y="612"/>
                    </a:lnTo>
                    <a:lnTo>
                      <a:pt x="425" y="622"/>
                    </a:lnTo>
                    <a:lnTo>
                      <a:pt x="400" y="632"/>
                    </a:lnTo>
                    <a:lnTo>
                      <a:pt x="374" y="643"/>
                    </a:lnTo>
                    <a:lnTo>
                      <a:pt x="346" y="652"/>
                    </a:lnTo>
                    <a:lnTo>
                      <a:pt x="316" y="662"/>
                    </a:lnTo>
                    <a:lnTo>
                      <a:pt x="288" y="671"/>
                    </a:lnTo>
                    <a:lnTo>
                      <a:pt x="263" y="680"/>
                    </a:lnTo>
                    <a:lnTo>
                      <a:pt x="245" y="687"/>
                    </a:lnTo>
                    <a:lnTo>
                      <a:pt x="229" y="695"/>
                    </a:lnTo>
                    <a:lnTo>
                      <a:pt x="219" y="701"/>
                    </a:lnTo>
                    <a:lnTo>
                      <a:pt x="208" y="707"/>
                    </a:lnTo>
                    <a:lnTo>
                      <a:pt x="198" y="713"/>
                    </a:lnTo>
                    <a:lnTo>
                      <a:pt x="189" y="718"/>
                    </a:lnTo>
                    <a:lnTo>
                      <a:pt x="178" y="723"/>
                    </a:lnTo>
                    <a:lnTo>
                      <a:pt x="166" y="726"/>
                    </a:lnTo>
                    <a:lnTo>
                      <a:pt x="152" y="730"/>
                    </a:lnTo>
                    <a:lnTo>
                      <a:pt x="132" y="733"/>
                    </a:lnTo>
                    <a:lnTo>
                      <a:pt x="109" y="736"/>
                    </a:lnTo>
                    <a:lnTo>
                      <a:pt x="79" y="739"/>
                    </a:lnTo>
                    <a:lnTo>
                      <a:pt x="44" y="742"/>
                    </a:lnTo>
                    <a:lnTo>
                      <a:pt x="0" y="744"/>
                    </a:lnTo>
                    <a:lnTo>
                      <a:pt x="2" y="744"/>
                    </a:lnTo>
                    <a:lnTo>
                      <a:pt x="5" y="742"/>
                    </a:lnTo>
                    <a:lnTo>
                      <a:pt x="12" y="741"/>
                    </a:lnTo>
                    <a:lnTo>
                      <a:pt x="21" y="739"/>
                    </a:lnTo>
                    <a:lnTo>
                      <a:pt x="34" y="736"/>
                    </a:lnTo>
                    <a:lnTo>
                      <a:pt x="48" y="732"/>
                    </a:lnTo>
                    <a:lnTo>
                      <a:pt x="64" y="727"/>
                    </a:lnTo>
                    <a:lnTo>
                      <a:pt x="83" y="720"/>
                    </a:lnTo>
                    <a:lnTo>
                      <a:pt x="102" y="713"/>
                    </a:lnTo>
                    <a:lnTo>
                      <a:pt x="125" y="705"/>
                    </a:lnTo>
                    <a:lnTo>
                      <a:pt x="148" y="695"/>
                    </a:lnTo>
                    <a:lnTo>
                      <a:pt x="175" y="683"/>
                    </a:lnTo>
                    <a:lnTo>
                      <a:pt x="201" y="669"/>
                    </a:lnTo>
                    <a:lnTo>
                      <a:pt x="229" y="655"/>
                    </a:lnTo>
                    <a:lnTo>
                      <a:pt x="259" y="638"/>
                    </a:lnTo>
                    <a:lnTo>
                      <a:pt x="291" y="620"/>
                    </a:lnTo>
                    <a:lnTo>
                      <a:pt x="323" y="601"/>
                    </a:lnTo>
                    <a:lnTo>
                      <a:pt x="356" y="582"/>
                    </a:lnTo>
                    <a:lnTo>
                      <a:pt x="392" y="564"/>
                    </a:lnTo>
                    <a:lnTo>
                      <a:pt x="427" y="545"/>
                    </a:lnTo>
                    <a:lnTo>
                      <a:pt x="462" y="524"/>
                    </a:lnTo>
                    <a:lnTo>
                      <a:pt x="499" y="505"/>
                    </a:lnTo>
                    <a:lnTo>
                      <a:pt x="534" y="485"/>
                    </a:lnTo>
                    <a:lnTo>
                      <a:pt x="570" y="464"/>
                    </a:lnTo>
                    <a:lnTo>
                      <a:pt x="605" y="444"/>
                    </a:lnTo>
                    <a:lnTo>
                      <a:pt x="639" y="423"/>
                    </a:lnTo>
                    <a:lnTo>
                      <a:pt x="672" y="401"/>
                    </a:lnTo>
                    <a:lnTo>
                      <a:pt x="704" y="378"/>
                    </a:lnTo>
                    <a:lnTo>
                      <a:pt x="734" y="356"/>
                    </a:lnTo>
                    <a:lnTo>
                      <a:pt x="762" y="332"/>
                    </a:lnTo>
                    <a:lnTo>
                      <a:pt x="789" y="309"/>
                    </a:lnTo>
                    <a:lnTo>
                      <a:pt x="813" y="285"/>
                    </a:lnTo>
                    <a:lnTo>
                      <a:pt x="831" y="267"/>
                    </a:lnTo>
                    <a:lnTo>
                      <a:pt x="847" y="251"/>
                    </a:lnTo>
                    <a:lnTo>
                      <a:pt x="864" y="236"/>
                    </a:lnTo>
                    <a:lnTo>
                      <a:pt x="884" y="221"/>
                    </a:lnTo>
                    <a:lnTo>
                      <a:pt x="901" y="208"/>
                    </a:lnTo>
                    <a:lnTo>
                      <a:pt x="919" y="196"/>
                    </a:lnTo>
                    <a:lnTo>
                      <a:pt x="938" y="184"/>
                    </a:lnTo>
                    <a:lnTo>
                      <a:pt x="958" y="172"/>
                    </a:lnTo>
                    <a:lnTo>
                      <a:pt x="977" y="161"/>
                    </a:lnTo>
                    <a:lnTo>
                      <a:pt x="997" y="151"/>
                    </a:lnTo>
                    <a:lnTo>
                      <a:pt x="1016" y="141"/>
                    </a:lnTo>
                    <a:lnTo>
                      <a:pt x="1035" y="129"/>
                    </a:lnTo>
                    <a:lnTo>
                      <a:pt x="1055" y="118"/>
                    </a:lnTo>
                    <a:lnTo>
                      <a:pt x="1074" y="107"/>
                    </a:lnTo>
                    <a:lnTo>
                      <a:pt x="1095" y="95"/>
                    </a:lnTo>
                    <a:lnTo>
                      <a:pt x="1115" y="81"/>
                    </a:lnTo>
                    <a:lnTo>
                      <a:pt x="1201" y="0"/>
                    </a:lnTo>
                    <a:lnTo>
                      <a:pt x="1203" y="0"/>
                    </a:lnTo>
                    <a:lnTo>
                      <a:pt x="1210" y="3"/>
                    </a:lnTo>
                    <a:lnTo>
                      <a:pt x="1219" y="7"/>
                    </a:lnTo>
                    <a:lnTo>
                      <a:pt x="1233" y="14"/>
                    </a:lnTo>
                    <a:lnTo>
                      <a:pt x="1249" y="26"/>
                    </a:lnTo>
                    <a:lnTo>
                      <a:pt x="1267" y="43"/>
                    </a:lnTo>
                    <a:lnTo>
                      <a:pt x="1288" y="65"/>
                    </a:lnTo>
                    <a:lnTo>
                      <a:pt x="1309" y="92"/>
                    </a:lnTo>
                    <a:lnTo>
                      <a:pt x="1334" y="123"/>
                    </a:lnTo>
                    <a:lnTo>
                      <a:pt x="1364" y="156"/>
                    </a:lnTo>
                    <a:lnTo>
                      <a:pt x="1395" y="187"/>
                    </a:lnTo>
                    <a:lnTo>
                      <a:pt x="1431" y="216"/>
                    </a:lnTo>
                    <a:lnTo>
                      <a:pt x="1466" y="243"/>
                    </a:lnTo>
                    <a:lnTo>
                      <a:pt x="1503" y="267"/>
                    </a:lnTo>
                    <a:lnTo>
                      <a:pt x="1540" y="285"/>
                    </a:lnTo>
                    <a:lnTo>
                      <a:pt x="1577" y="295"/>
                    </a:lnTo>
                    <a:lnTo>
                      <a:pt x="1611" y="307"/>
                    </a:lnTo>
                    <a:lnTo>
                      <a:pt x="1642" y="325"/>
                    </a:lnTo>
                    <a:lnTo>
                      <a:pt x="1671" y="349"/>
                    </a:lnTo>
                    <a:lnTo>
                      <a:pt x="1699" y="377"/>
                    </a:lnTo>
                    <a:lnTo>
                      <a:pt x="1729" y="408"/>
                    </a:lnTo>
                    <a:lnTo>
                      <a:pt x="1759" y="439"/>
                    </a:lnTo>
                    <a:lnTo>
                      <a:pt x="1792" y="470"/>
                    </a:lnTo>
                    <a:lnTo>
                      <a:pt x="1831" y="499"/>
                    </a:lnTo>
                    <a:lnTo>
                      <a:pt x="1850" y="512"/>
                    </a:lnTo>
                    <a:lnTo>
                      <a:pt x="1872" y="525"/>
                    </a:lnTo>
                    <a:lnTo>
                      <a:pt x="1893" y="539"/>
                    </a:lnTo>
                    <a:lnTo>
                      <a:pt x="1914" y="551"/>
                    </a:lnTo>
                    <a:lnTo>
                      <a:pt x="1935" y="562"/>
                    </a:lnTo>
                    <a:lnTo>
                      <a:pt x="1956" y="573"/>
                    </a:lnTo>
                    <a:lnTo>
                      <a:pt x="1979" y="583"/>
                    </a:lnTo>
                    <a:lnTo>
                      <a:pt x="2002" y="592"/>
                    </a:lnTo>
                    <a:lnTo>
                      <a:pt x="2027" y="600"/>
                    </a:lnTo>
                    <a:lnTo>
                      <a:pt x="2052" y="606"/>
                    </a:lnTo>
                    <a:lnTo>
                      <a:pt x="2078" y="610"/>
                    </a:lnTo>
                    <a:lnTo>
                      <a:pt x="2106" y="612"/>
                    </a:lnTo>
                    <a:lnTo>
                      <a:pt x="2134" y="613"/>
                    </a:lnTo>
                    <a:lnTo>
                      <a:pt x="2164" y="612"/>
                    </a:lnTo>
                    <a:lnTo>
                      <a:pt x="2196" y="607"/>
                    </a:lnTo>
                    <a:lnTo>
                      <a:pt x="2230" y="601"/>
                    </a:lnTo>
                    <a:lnTo>
                      <a:pt x="2339" y="6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7" name="Freeform 212"/>
              <p:cNvSpPr>
                <a:spLocks/>
              </p:cNvSpPr>
              <p:nvPr/>
            </p:nvSpPr>
            <p:spPr bwMode="auto">
              <a:xfrm>
                <a:off x="4939" y="3757"/>
                <a:ext cx="393" cy="71"/>
              </a:xfrm>
              <a:custGeom>
                <a:avLst/>
                <a:gdLst>
                  <a:gd name="T0" fmla="*/ 0 w 787"/>
                  <a:gd name="T1" fmla="*/ 0 h 141"/>
                  <a:gd name="T2" fmla="*/ 2 w 787"/>
                  <a:gd name="T3" fmla="*/ 0 h 141"/>
                  <a:gd name="T4" fmla="*/ 10 w 787"/>
                  <a:gd name="T5" fmla="*/ 0 h 141"/>
                  <a:gd name="T6" fmla="*/ 23 w 787"/>
                  <a:gd name="T7" fmla="*/ 1 h 141"/>
                  <a:gd name="T8" fmla="*/ 39 w 787"/>
                  <a:gd name="T9" fmla="*/ 1 h 141"/>
                  <a:gd name="T10" fmla="*/ 58 w 787"/>
                  <a:gd name="T11" fmla="*/ 3 h 141"/>
                  <a:gd name="T12" fmla="*/ 83 w 787"/>
                  <a:gd name="T13" fmla="*/ 4 h 141"/>
                  <a:gd name="T14" fmla="*/ 109 w 787"/>
                  <a:gd name="T15" fmla="*/ 6 h 141"/>
                  <a:gd name="T16" fmla="*/ 137 w 787"/>
                  <a:gd name="T17" fmla="*/ 9 h 141"/>
                  <a:gd name="T18" fmla="*/ 169 w 787"/>
                  <a:gd name="T19" fmla="*/ 10 h 141"/>
                  <a:gd name="T20" fmla="*/ 201 w 787"/>
                  <a:gd name="T21" fmla="*/ 13 h 141"/>
                  <a:gd name="T22" fmla="*/ 234 w 787"/>
                  <a:gd name="T23" fmla="*/ 16 h 141"/>
                  <a:gd name="T24" fmla="*/ 270 w 787"/>
                  <a:gd name="T25" fmla="*/ 19 h 141"/>
                  <a:gd name="T26" fmla="*/ 305 w 787"/>
                  <a:gd name="T27" fmla="*/ 24 h 141"/>
                  <a:gd name="T28" fmla="*/ 338 w 787"/>
                  <a:gd name="T29" fmla="*/ 28 h 141"/>
                  <a:gd name="T30" fmla="*/ 374 w 787"/>
                  <a:gd name="T31" fmla="*/ 33 h 141"/>
                  <a:gd name="T32" fmla="*/ 407 w 787"/>
                  <a:gd name="T33" fmla="*/ 37 h 141"/>
                  <a:gd name="T34" fmla="*/ 439 w 787"/>
                  <a:gd name="T35" fmla="*/ 41 h 141"/>
                  <a:gd name="T36" fmla="*/ 471 w 787"/>
                  <a:gd name="T37" fmla="*/ 47 h 141"/>
                  <a:gd name="T38" fmla="*/ 501 w 787"/>
                  <a:gd name="T39" fmla="*/ 50 h 141"/>
                  <a:gd name="T40" fmla="*/ 529 w 787"/>
                  <a:gd name="T41" fmla="*/ 55 h 141"/>
                  <a:gd name="T42" fmla="*/ 555 w 787"/>
                  <a:gd name="T43" fmla="*/ 59 h 141"/>
                  <a:gd name="T44" fmla="*/ 582 w 787"/>
                  <a:gd name="T45" fmla="*/ 62 h 141"/>
                  <a:gd name="T46" fmla="*/ 607 w 787"/>
                  <a:gd name="T47" fmla="*/ 65 h 141"/>
                  <a:gd name="T48" fmla="*/ 630 w 787"/>
                  <a:gd name="T49" fmla="*/ 68 h 141"/>
                  <a:gd name="T50" fmla="*/ 651 w 787"/>
                  <a:gd name="T51" fmla="*/ 71 h 141"/>
                  <a:gd name="T52" fmla="*/ 670 w 787"/>
                  <a:gd name="T53" fmla="*/ 74 h 141"/>
                  <a:gd name="T54" fmla="*/ 690 w 787"/>
                  <a:gd name="T55" fmla="*/ 77 h 141"/>
                  <a:gd name="T56" fmla="*/ 707 w 787"/>
                  <a:gd name="T57" fmla="*/ 80 h 141"/>
                  <a:gd name="T58" fmla="*/ 723 w 787"/>
                  <a:gd name="T59" fmla="*/ 83 h 141"/>
                  <a:gd name="T60" fmla="*/ 737 w 787"/>
                  <a:gd name="T61" fmla="*/ 86 h 141"/>
                  <a:gd name="T62" fmla="*/ 749 w 787"/>
                  <a:gd name="T63" fmla="*/ 91 h 141"/>
                  <a:gd name="T64" fmla="*/ 760 w 787"/>
                  <a:gd name="T65" fmla="*/ 93 h 141"/>
                  <a:gd name="T66" fmla="*/ 776 w 787"/>
                  <a:gd name="T67" fmla="*/ 101 h 141"/>
                  <a:gd name="T68" fmla="*/ 785 w 787"/>
                  <a:gd name="T69" fmla="*/ 110 h 141"/>
                  <a:gd name="T70" fmla="*/ 787 w 787"/>
                  <a:gd name="T71" fmla="*/ 119 h 141"/>
                  <a:gd name="T72" fmla="*/ 783 w 787"/>
                  <a:gd name="T73" fmla="*/ 126 h 141"/>
                  <a:gd name="T74" fmla="*/ 772 w 787"/>
                  <a:gd name="T75" fmla="*/ 134 h 141"/>
                  <a:gd name="T76" fmla="*/ 758 w 787"/>
                  <a:gd name="T77" fmla="*/ 138 h 141"/>
                  <a:gd name="T78" fmla="*/ 739 w 787"/>
                  <a:gd name="T79" fmla="*/ 141 h 141"/>
                  <a:gd name="T80" fmla="*/ 716 w 787"/>
                  <a:gd name="T81" fmla="*/ 140 h 141"/>
                  <a:gd name="T82" fmla="*/ 700 w 787"/>
                  <a:gd name="T83" fmla="*/ 137 h 141"/>
                  <a:gd name="T84" fmla="*/ 677 w 787"/>
                  <a:gd name="T85" fmla="*/ 132 h 141"/>
                  <a:gd name="T86" fmla="*/ 647 w 787"/>
                  <a:gd name="T87" fmla="*/ 126 h 141"/>
                  <a:gd name="T88" fmla="*/ 612 w 787"/>
                  <a:gd name="T89" fmla="*/ 119 h 141"/>
                  <a:gd name="T90" fmla="*/ 571 w 787"/>
                  <a:gd name="T91" fmla="*/ 111 h 141"/>
                  <a:gd name="T92" fmla="*/ 527 w 787"/>
                  <a:gd name="T93" fmla="*/ 101 h 141"/>
                  <a:gd name="T94" fmla="*/ 478 w 787"/>
                  <a:gd name="T95" fmla="*/ 91 h 141"/>
                  <a:gd name="T96" fmla="*/ 427 w 787"/>
                  <a:gd name="T97" fmla="*/ 80 h 141"/>
                  <a:gd name="T98" fmla="*/ 374 w 787"/>
                  <a:gd name="T99" fmla="*/ 70 h 141"/>
                  <a:gd name="T100" fmla="*/ 319 w 787"/>
                  <a:gd name="T101" fmla="*/ 58 h 141"/>
                  <a:gd name="T102" fmla="*/ 264 w 787"/>
                  <a:gd name="T103" fmla="*/ 47 h 141"/>
                  <a:gd name="T104" fmla="*/ 208 w 787"/>
                  <a:gd name="T105" fmla="*/ 36 h 141"/>
                  <a:gd name="T106" fmla="*/ 153 w 787"/>
                  <a:gd name="T107" fmla="*/ 25 h 141"/>
                  <a:gd name="T108" fmla="*/ 100 w 787"/>
                  <a:gd name="T109" fmla="*/ 16 h 141"/>
                  <a:gd name="T110" fmla="*/ 49 w 787"/>
                  <a:gd name="T111" fmla="*/ 7 h 141"/>
                  <a:gd name="T112" fmla="*/ 0 w 787"/>
                  <a:gd name="T113" fmla="*/ 0 h 14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7"/>
                  <a:gd name="T172" fmla="*/ 0 h 141"/>
                  <a:gd name="T173" fmla="*/ 787 w 787"/>
                  <a:gd name="T174" fmla="*/ 141 h 14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7" h="141">
                    <a:moveTo>
                      <a:pt x="0" y="0"/>
                    </a:moveTo>
                    <a:lnTo>
                      <a:pt x="2" y="0"/>
                    </a:lnTo>
                    <a:lnTo>
                      <a:pt x="10" y="0"/>
                    </a:lnTo>
                    <a:lnTo>
                      <a:pt x="23" y="1"/>
                    </a:lnTo>
                    <a:lnTo>
                      <a:pt x="39" y="1"/>
                    </a:lnTo>
                    <a:lnTo>
                      <a:pt x="58" y="3"/>
                    </a:lnTo>
                    <a:lnTo>
                      <a:pt x="83" y="4"/>
                    </a:lnTo>
                    <a:lnTo>
                      <a:pt x="109" y="6"/>
                    </a:lnTo>
                    <a:lnTo>
                      <a:pt x="137" y="9"/>
                    </a:lnTo>
                    <a:lnTo>
                      <a:pt x="169" y="10"/>
                    </a:lnTo>
                    <a:lnTo>
                      <a:pt x="201" y="13"/>
                    </a:lnTo>
                    <a:lnTo>
                      <a:pt x="234" y="16"/>
                    </a:lnTo>
                    <a:lnTo>
                      <a:pt x="270" y="19"/>
                    </a:lnTo>
                    <a:lnTo>
                      <a:pt x="305" y="24"/>
                    </a:lnTo>
                    <a:lnTo>
                      <a:pt x="338" y="28"/>
                    </a:lnTo>
                    <a:lnTo>
                      <a:pt x="374" y="33"/>
                    </a:lnTo>
                    <a:lnTo>
                      <a:pt x="407" y="37"/>
                    </a:lnTo>
                    <a:lnTo>
                      <a:pt x="439" y="41"/>
                    </a:lnTo>
                    <a:lnTo>
                      <a:pt x="471" y="47"/>
                    </a:lnTo>
                    <a:lnTo>
                      <a:pt x="501" y="50"/>
                    </a:lnTo>
                    <a:lnTo>
                      <a:pt x="529" y="55"/>
                    </a:lnTo>
                    <a:lnTo>
                      <a:pt x="555" y="59"/>
                    </a:lnTo>
                    <a:lnTo>
                      <a:pt x="582" y="62"/>
                    </a:lnTo>
                    <a:lnTo>
                      <a:pt x="607" y="65"/>
                    </a:lnTo>
                    <a:lnTo>
                      <a:pt x="630" y="68"/>
                    </a:lnTo>
                    <a:lnTo>
                      <a:pt x="651" y="71"/>
                    </a:lnTo>
                    <a:lnTo>
                      <a:pt x="670" y="74"/>
                    </a:lnTo>
                    <a:lnTo>
                      <a:pt x="690" y="77"/>
                    </a:lnTo>
                    <a:lnTo>
                      <a:pt x="707" y="80"/>
                    </a:lnTo>
                    <a:lnTo>
                      <a:pt x="723" y="83"/>
                    </a:lnTo>
                    <a:lnTo>
                      <a:pt x="737" y="86"/>
                    </a:lnTo>
                    <a:lnTo>
                      <a:pt x="749" y="91"/>
                    </a:lnTo>
                    <a:lnTo>
                      <a:pt x="760" y="93"/>
                    </a:lnTo>
                    <a:lnTo>
                      <a:pt x="776" y="101"/>
                    </a:lnTo>
                    <a:lnTo>
                      <a:pt x="785" y="110"/>
                    </a:lnTo>
                    <a:lnTo>
                      <a:pt x="787" y="119"/>
                    </a:lnTo>
                    <a:lnTo>
                      <a:pt x="783" y="126"/>
                    </a:lnTo>
                    <a:lnTo>
                      <a:pt x="772" y="134"/>
                    </a:lnTo>
                    <a:lnTo>
                      <a:pt x="758" y="138"/>
                    </a:lnTo>
                    <a:lnTo>
                      <a:pt x="739" y="141"/>
                    </a:lnTo>
                    <a:lnTo>
                      <a:pt x="716" y="140"/>
                    </a:lnTo>
                    <a:lnTo>
                      <a:pt x="700" y="137"/>
                    </a:lnTo>
                    <a:lnTo>
                      <a:pt x="677" y="132"/>
                    </a:lnTo>
                    <a:lnTo>
                      <a:pt x="647" y="126"/>
                    </a:lnTo>
                    <a:lnTo>
                      <a:pt x="612" y="119"/>
                    </a:lnTo>
                    <a:lnTo>
                      <a:pt x="571" y="111"/>
                    </a:lnTo>
                    <a:lnTo>
                      <a:pt x="527" y="101"/>
                    </a:lnTo>
                    <a:lnTo>
                      <a:pt x="478" y="91"/>
                    </a:lnTo>
                    <a:lnTo>
                      <a:pt x="427" y="80"/>
                    </a:lnTo>
                    <a:lnTo>
                      <a:pt x="374" y="70"/>
                    </a:lnTo>
                    <a:lnTo>
                      <a:pt x="319" y="58"/>
                    </a:lnTo>
                    <a:lnTo>
                      <a:pt x="264" y="47"/>
                    </a:lnTo>
                    <a:lnTo>
                      <a:pt x="208" y="36"/>
                    </a:lnTo>
                    <a:lnTo>
                      <a:pt x="153" y="25"/>
                    </a:lnTo>
                    <a:lnTo>
                      <a:pt x="100" y="16"/>
                    </a:lnTo>
                    <a:lnTo>
                      <a:pt x="49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C9C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8" name="Freeform 213"/>
              <p:cNvSpPr>
                <a:spLocks/>
              </p:cNvSpPr>
              <p:nvPr/>
            </p:nvSpPr>
            <p:spPr bwMode="auto">
              <a:xfrm>
                <a:off x="4157" y="3698"/>
                <a:ext cx="1101" cy="149"/>
              </a:xfrm>
              <a:custGeom>
                <a:avLst/>
                <a:gdLst>
                  <a:gd name="T0" fmla="*/ 2203 w 2203"/>
                  <a:gd name="T1" fmla="*/ 285 h 297"/>
                  <a:gd name="T2" fmla="*/ 2196 w 2203"/>
                  <a:gd name="T3" fmla="*/ 288 h 297"/>
                  <a:gd name="T4" fmla="*/ 2180 w 2203"/>
                  <a:gd name="T5" fmla="*/ 292 h 297"/>
                  <a:gd name="T6" fmla="*/ 2157 w 2203"/>
                  <a:gd name="T7" fmla="*/ 295 h 297"/>
                  <a:gd name="T8" fmla="*/ 2124 w 2203"/>
                  <a:gd name="T9" fmla="*/ 297 h 297"/>
                  <a:gd name="T10" fmla="*/ 2078 w 2203"/>
                  <a:gd name="T11" fmla="*/ 295 h 297"/>
                  <a:gd name="T12" fmla="*/ 2020 w 2203"/>
                  <a:gd name="T13" fmla="*/ 288 h 297"/>
                  <a:gd name="T14" fmla="*/ 1948 w 2203"/>
                  <a:gd name="T15" fmla="*/ 274 h 297"/>
                  <a:gd name="T16" fmla="*/ 1866 w 2203"/>
                  <a:gd name="T17" fmla="*/ 258 h 297"/>
                  <a:gd name="T18" fmla="*/ 1806 w 2203"/>
                  <a:gd name="T19" fmla="*/ 252 h 297"/>
                  <a:gd name="T20" fmla="*/ 1764 w 2203"/>
                  <a:gd name="T21" fmla="*/ 259 h 297"/>
                  <a:gd name="T22" fmla="*/ 1736 w 2203"/>
                  <a:gd name="T23" fmla="*/ 270 h 297"/>
                  <a:gd name="T24" fmla="*/ 1709 w 2203"/>
                  <a:gd name="T25" fmla="*/ 280 h 297"/>
                  <a:gd name="T26" fmla="*/ 1678 w 2203"/>
                  <a:gd name="T27" fmla="*/ 283 h 297"/>
                  <a:gd name="T28" fmla="*/ 1635 w 2203"/>
                  <a:gd name="T29" fmla="*/ 276 h 297"/>
                  <a:gd name="T30" fmla="*/ 1574 w 2203"/>
                  <a:gd name="T31" fmla="*/ 249 h 297"/>
                  <a:gd name="T32" fmla="*/ 1526 w 2203"/>
                  <a:gd name="T33" fmla="*/ 228 h 297"/>
                  <a:gd name="T34" fmla="*/ 1484 w 2203"/>
                  <a:gd name="T35" fmla="*/ 230 h 297"/>
                  <a:gd name="T36" fmla="*/ 1411 w 2203"/>
                  <a:gd name="T37" fmla="*/ 233 h 297"/>
                  <a:gd name="T38" fmla="*/ 1314 w 2203"/>
                  <a:gd name="T39" fmla="*/ 233 h 297"/>
                  <a:gd name="T40" fmla="*/ 1205 w 2203"/>
                  <a:gd name="T41" fmla="*/ 230 h 297"/>
                  <a:gd name="T42" fmla="*/ 1094 w 2203"/>
                  <a:gd name="T43" fmla="*/ 222 h 297"/>
                  <a:gd name="T44" fmla="*/ 986 w 2203"/>
                  <a:gd name="T45" fmla="*/ 209 h 297"/>
                  <a:gd name="T46" fmla="*/ 896 w 2203"/>
                  <a:gd name="T47" fmla="*/ 188 h 297"/>
                  <a:gd name="T48" fmla="*/ 824 w 2203"/>
                  <a:gd name="T49" fmla="*/ 157 h 297"/>
                  <a:gd name="T50" fmla="*/ 737 w 2203"/>
                  <a:gd name="T51" fmla="*/ 124 h 297"/>
                  <a:gd name="T52" fmla="*/ 635 w 2203"/>
                  <a:gd name="T53" fmla="*/ 93 h 297"/>
                  <a:gd name="T54" fmla="*/ 522 w 2203"/>
                  <a:gd name="T55" fmla="*/ 65 h 297"/>
                  <a:gd name="T56" fmla="*/ 402 w 2203"/>
                  <a:gd name="T57" fmla="*/ 47 h 297"/>
                  <a:gd name="T58" fmla="*/ 281 w 2203"/>
                  <a:gd name="T59" fmla="*/ 38 h 297"/>
                  <a:gd name="T60" fmla="*/ 162 w 2203"/>
                  <a:gd name="T61" fmla="*/ 46 h 297"/>
                  <a:gd name="T62" fmla="*/ 51 w 2203"/>
                  <a:gd name="T63" fmla="*/ 71 h 297"/>
                  <a:gd name="T64" fmla="*/ 2 w 2203"/>
                  <a:gd name="T65" fmla="*/ 87 h 297"/>
                  <a:gd name="T66" fmla="*/ 20 w 2203"/>
                  <a:gd name="T67" fmla="*/ 72 h 297"/>
                  <a:gd name="T68" fmla="*/ 62 w 2203"/>
                  <a:gd name="T69" fmla="*/ 49 h 297"/>
                  <a:gd name="T70" fmla="*/ 131 w 2203"/>
                  <a:gd name="T71" fmla="*/ 23 h 297"/>
                  <a:gd name="T72" fmla="*/ 231 w 2203"/>
                  <a:gd name="T73" fmla="*/ 6 h 297"/>
                  <a:gd name="T74" fmla="*/ 371 w 2203"/>
                  <a:gd name="T75" fmla="*/ 0 h 297"/>
                  <a:gd name="T76" fmla="*/ 552 w 2203"/>
                  <a:gd name="T77" fmla="*/ 14 h 297"/>
                  <a:gd name="T78" fmla="*/ 780 w 2203"/>
                  <a:gd name="T79" fmla="*/ 56 h 297"/>
                  <a:gd name="T80" fmla="*/ 916 w 2203"/>
                  <a:gd name="T81" fmla="*/ 92 h 297"/>
                  <a:gd name="T82" fmla="*/ 928 w 2203"/>
                  <a:gd name="T83" fmla="*/ 98 h 297"/>
                  <a:gd name="T84" fmla="*/ 956 w 2203"/>
                  <a:gd name="T85" fmla="*/ 107 h 297"/>
                  <a:gd name="T86" fmla="*/ 1000 w 2203"/>
                  <a:gd name="T87" fmla="*/ 120 h 297"/>
                  <a:gd name="T88" fmla="*/ 1060 w 2203"/>
                  <a:gd name="T89" fmla="*/ 132 h 297"/>
                  <a:gd name="T90" fmla="*/ 1141 w 2203"/>
                  <a:gd name="T91" fmla="*/ 144 h 297"/>
                  <a:gd name="T92" fmla="*/ 1242 w 2203"/>
                  <a:gd name="T93" fmla="*/ 153 h 297"/>
                  <a:gd name="T94" fmla="*/ 1364 w 2203"/>
                  <a:gd name="T95" fmla="*/ 156 h 297"/>
                  <a:gd name="T96" fmla="*/ 1501 w 2203"/>
                  <a:gd name="T97" fmla="*/ 154 h 297"/>
                  <a:gd name="T98" fmla="*/ 1616 w 2203"/>
                  <a:gd name="T99" fmla="*/ 158 h 297"/>
                  <a:gd name="T100" fmla="*/ 1711 w 2203"/>
                  <a:gd name="T101" fmla="*/ 169 h 297"/>
                  <a:gd name="T102" fmla="*/ 1792 w 2203"/>
                  <a:gd name="T103" fmla="*/ 185 h 297"/>
                  <a:gd name="T104" fmla="*/ 1868 w 2203"/>
                  <a:gd name="T105" fmla="*/ 205 h 297"/>
                  <a:gd name="T106" fmla="*/ 1946 w 2203"/>
                  <a:gd name="T107" fmla="*/ 228 h 297"/>
                  <a:gd name="T108" fmla="*/ 2034 w 2203"/>
                  <a:gd name="T109" fmla="*/ 251 h 297"/>
                  <a:gd name="T110" fmla="*/ 2142 w 2203"/>
                  <a:gd name="T111" fmla="*/ 274 h 29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203"/>
                  <a:gd name="T169" fmla="*/ 0 h 297"/>
                  <a:gd name="T170" fmla="*/ 2203 w 2203"/>
                  <a:gd name="T171" fmla="*/ 297 h 29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203" h="297">
                    <a:moveTo>
                      <a:pt x="2203" y="285"/>
                    </a:moveTo>
                    <a:lnTo>
                      <a:pt x="2203" y="285"/>
                    </a:lnTo>
                    <a:lnTo>
                      <a:pt x="2200" y="286"/>
                    </a:lnTo>
                    <a:lnTo>
                      <a:pt x="2196" y="288"/>
                    </a:lnTo>
                    <a:lnTo>
                      <a:pt x="2189" y="289"/>
                    </a:lnTo>
                    <a:lnTo>
                      <a:pt x="2180" y="292"/>
                    </a:lnTo>
                    <a:lnTo>
                      <a:pt x="2170" y="294"/>
                    </a:lnTo>
                    <a:lnTo>
                      <a:pt x="2157" y="295"/>
                    </a:lnTo>
                    <a:lnTo>
                      <a:pt x="2142" y="297"/>
                    </a:lnTo>
                    <a:lnTo>
                      <a:pt x="2124" y="297"/>
                    </a:lnTo>
                    <a:lnTo>
                      <a:pt x="2101" y="297"/>
                    </a:lnTo>
                    <a:lnTo>
                      <a:pt x="2078" y="295"/>
                    </a:lnTo>
                    <a:lnTo>
                      <a:pt x="2050" y="292"/>
                    </a:lnTo>
                    <a:lnTo>
                      <a:pt x="2020" y="288"/>
                    </a:lnTo>
                    <a:lnTo>
                      <a:pt x="1985" y="282"/>
                    </a:lnTo>
                    <a:lnTo>
                      <a:pt x="1948" y="274"/>
                    </a:lnTo>
                    <a:lnTo>
                      <a:pt x="1905" y="265"/>
                    </a:lnTo>
                    <a:lnTo>
                      <a:pt x="1866" y="258"/>
                    </a:lnTo>
                    <a:lnTo>
                      <a:pt x="1833" y="254"/>
                    </a:lnTo>
                    <a:lnTo>
                      <a:pt x="1806" y="252"/>
                    </a:lnTo>
                    <a:lnTo>
                      <a:pt x="1784" y="255"/>
                    </a:lnTo>
                    <a:lnTo>
                      <a:pt x="1764" y="259"/>
                    </a:lnTo>
                    <a:lnTo>
                      <a:pt x="1748" y="264"/>
                    </a:lnTo>
                    <a:lnTo>
                      <a:pt x="1736" y="270"/>
                    </a:lnTo>
                    <a:lnTo>
                      <a:pt x="1722" y="276"/>
                    </a:lnTo>
                    <a:lnTo>
                      <a:pt x="1709" y="280"/>
                    </a:lnTo>
                    <a:lnTo>
                      <a:pt x="1695" y="283"/>
                    </a:lnTo>
                    <a:lnTo>
                      <a:pt x="1678" y="283"/>
                    </a:lnTo>
                    <a:lnTo>
                      <a:pt x="1660" y="282"/>
                    </a:lnTo>
                    <a:lnTo>
                      <a:pt x="1635" y="276"/>
                    </a:lnTo>
                    <a:lnTo>
                      <a:pt x="1607" y="265"/>
                    </a:lnTo>
                    <a:lnTo>
                      <a:pt x="1574" y="249"/>
                    </a:lnTo>
                    <a:lnTo>
                      <a:pt x="1531" y="228"/>
                    </a:lnTo>
                    <a:lnTo>
                      <a:pt x="1526" y="228"/>
                    </a:lnTo>
                    <a:lnTo>
                      <a:pt x="1510" y="230"/>
                    </a:lnTo>
                    <a:lnTo>
                      <a:pt x="1484" y="230"/>
                    </a:lnTo>
                    <a:lnTo>
                      <a:pt x="1452" y="231"/>
                    </a:lnTo>
                    <a:lnTo>
                      <a:pt x="1411" y="233"/>
                    </a:lnTo>
                    <a:lnTo>
                      <a:pt x="1365" y="233"/>
                    </a:lnTo>
                    <a:lnTo>
                      <a:pt x="1314" y="233"/>
                    </a:lnTo>
                    <a:lnTo>
                      <a:pt x="1261" y="231"/>
                    </a:lnTo>
                    <a:lnTo>
                      <a:pt x="1205" y="230"/>
                    </a:lnTo>
                    <a:lnTo>
                      <a:pt x="1148" y="227"/>
                    </a:lnTo>
                    <a:lnTo>
                      <a:pt x="1094" y="222"/>
                    </a:lnTo>
                    <a:lnTo>
                      <a:pt x="1039" y="216"/>
                    </a:lnTo>
                    <a:lnTo>
                      <a:pt x="986" y="209"/>
                    </a:lnTo>
                    <a:lnTo>
                      <a:pt x="939" y="200"/>
                    </a:lnTo>
                    <a:lnTo>
                      <a:pt x="896" y="188"/>
                    </a:lnTo>
                    <a:lnTo>
                      <a:pt x="859" y="173"/>
                    </a:lnTo>
                    <a:lnTo>
                      <a:pt x="824" y="157"/>
                    </a:lnTo>
                    <a:lnTo>
                      <a:pt x="783" y="141"/>
                    </a:lnTo>
                    <a:lnTo>
                      <a:pt x="737" y="124"/>
                    </a:lnTo>
                    <a:lnTo>
                      <a:pt x="688" y="108"/>
                    </a:lnTo>
                    <a:lnTo>
                      <a:pt x="635" y="93"/>
                    </a:lnTo>
                    <a:lnTo>
                      <a:pt x="580" y="78"/>
                    </a:lnTo>
                    <a:lnTo>
                      <a:pt x="522" y="65"/>
                    </a:lnTo>
                    <a:lnTo>
                      <a:pt x="464" y="55"/>
                    </a:lnTo>
                    <a:lnTo>
                      <a:pt x="402" y="47"/>
                    </a:lnTo>
                    <a:lnTo>
                      <a:pt x="342" y="41"/>
                    </a:lnTo>
                    <a:lnTo>
                      <a:pt x="281" y="38"/>
                    </a:lnTo>
                    <a:lnTo>
                      <a:pt x="221" y="40"/>
                    </a:lnTo>
                    <a:lnTo>
                      <a:pt x="162" y="46"/>
                    </a:lnTo>
                    <a:lnTo>
                      <a:pt x="106" y="56"/>
                    </a:lnTo>
                    <a:lnTo>
                      <a:pt x="51" y="71"/>
                    </a:lnTo>
                    <a:lnTo>
                      <a:pt x="0" y="90"/>
                    </a:lnTo>
                    <a:lnTo>
                      <a:pt x="2" y="87"/>
                    </a:lnTo>
                    <a:lnTo>
                      <a:pt x="9" y="81"/>
                    </a:lnTo>
                    <a:lnTo>
                      <a:pt x="20" y="72"/>
                    </a:lnTo>
                    <a:lnTo>
                      <a:pt x="37" y="62"/>
                    </a:lnTo>
                    <a:lnTo>
                      <a:pt x="62" y="49"/>
                    </a:lnTo>
                    <a:lnTo>
                      <a:pt x="92" y="37"/>
                    </a:lnTo>
                    <a:lnTo>
                      <a:pt x="131" y="23"/>
                    </a:lnTo>
                    <a:lnTo>
                      <a:pt x="177" y="13"/>
                    </a:lnTo>
                    <a:lnTo>
                      <a:pt x="231" y="6"/>
                    </a:lnTo>
                    <a:lnTo>
                      <a:pt x="296" y="0"/>
                    </a:lnTo>
                    <a:lnTo>
                      <a:pt x="371" y="0"/>
                    </a:lnTo>
                    <a:lnTo>
                      <a:pt x="455" y="4"/>
                    </a:lnTo>
                    <a:lnTo>
                      <a:pt x="552" y="14"/>
                    </a:lnTo>
                    <a:lnTo>
                      <a:pt x="660" y="31"/>
                    </a:lnTo>
                    <a:lnTo>
                      <a:pt x="780" y="56"/>
                    </a:lnTo>
                    <a:lnTo>
                      <a:pt x="914" y="90"/>
                    </a:lnTo>
                    <a:lnTo>
                      <a:pt x="916" y="92"/>
                    </a:lnTo>
                    <a:lnTo>
                      <a:pt x="921" y="93"/>
                    </a:lnTo>
                    <a:lnTo>
                      <a:pt x="928" y="98"/>
                    </a:lnTo>
                    <a:lnTo>
                      <a:pt x="940" y="102"/>
                    </a:lnTo>
                    <a:lnTo>
                      <a:pt x="956" y="107"/>
                    </a:lnTo>
                    <a:lnTo>
                      <a:pt x="976" y="112"/>
                    </a:lnTo>
                    <a:lnTo>
                      <a:pt x="1000" y="120"/>
                    </a:lnTo>
                    <a:lnTo>
                      <a:pt x="1029" y="126"/>
                    </a:lnTo>
                    <a:lnTo>
                      <a:pt x="1060" y="132"/>
                    </a:lnTo>
                    <a:lnTo>
                      <a:pt x="1099" y="138"/>
                    </a:lnTo>
                    <a:lnTo>
                      <a:pt x="1141" y="144"/>
                    </a:lnTo>
                    <a:lnTo>
                      <a:pt x="1189" y="148"/>
                    </a:lnTo>
                    <a:lnTo>
                      <a:pt x="1242" y="153"/>
                    </a:lnTo>
                    <a:lnTo>
                      <a:pt x="1298" y="154"/>
                    </a:lnTo>
                    <a:lnTo>
                      <a:pt x="1364" y="156"/>
                    </a:lnTo>
                    <a:lnTo>
                      <a:pt x="1432" y="154"/>
                    </a:lnTo>
                    <a:lnTo>
                      <a:pt x="1501" y="154"/>
                    </a:lnTo>
                    <a:lnTo>
                      <a:pt x="1561" y="154"/>
                    </a:lnTo>
                    <a:lnTo>
                      <a:pt x="1616" y="158"/>
                    </a:lnTo>
                    <a:lnTo>
                      <a:pt x="1665" y="163"/>
                    </a:lnTo>
                    <a:lnTo>
                      <a:pt x="1711" y="169"/>
                    </a:lnTo>
                    <a:lnTo>
                      <a:pt x="1752" y="176"/>
                    </a:lnTo>
                    <a:lnTo>
                      <a:pt x="1792" y="185"/>
                    </a:lnTo>
                    <a:lnTo>
                      <a:pt x="1829" y="194"/>
                    </a:lnTo>
                    <a:lnTo>
                      <a:pt x="1868" y="205"/>
                    </a:lnTo>
                    <a:lnTo>
                      <a:pt x="1905" y="216"/>
                    </a:lnTo>
                    <a:lnTo>
                      <a:pt x="1946" y="228"/>
                    </a:lnTo>
                    <a:lnTo>
                      <a:pt x="1988" y="239"/>
                    </a:lnTo>
                    <a:lnTo>
                      <a:pt x="2034" y="251"/>
                    </a:lnTo>
                    <a:lnTo>
                      <a:pt x="2085" y="262"/>
                    </a:lnTo>
                    <a:lnTo>
                      <a:pt x="2142" y="274"/>
                    </a:lnTo>
                    <a:lnTo>
                      <a:pt x="2203" y="28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8" name="Group 214"/>
            <p:cNvGrpSpPr>
              <a:grpSpLocks/>
            </p:cNvGrpSpPr>
            <p:nvPr/>
          </p:nvGrpSpPr>
          <p:grpSpPr bwMode="auto">
            <a:xfrm>
              <a:off x="2286" y="2645"/>
              <a:ext cx="122" cy="166"/>
              <a:chOff x="2334" y="2501"/>
              <a:chExt cx="122" cy="166"/>
            </a:xfrm>
          </p:grpSpPr>
          <p:sp>
            <p:nvSpPr>
              <p:cNvPr id="309" name="Freeform 215"/>
              <p:cNvSpPr>
                <a:spLocks/>
              </p:cNvSpPr>
              <p:nvPr/>
            </p:nvSpPr>
            <p:spPr bwMode="auto">
              <a:xfrm>
                <a:off x="2334" y="2501"/>
                <a:ext cx="122" cy="166"/>
              </a:xfrm>
              <a:custGeom>
                <a:avLst/>
                <a:gdLst>
                  <a:gd name="T0" fmla="*/ 47 w 365"/>
                  <a:gd name="T1" fmla="*/ 156 h 498"/>
                  <a:gd name="T2" fmla="*/ 27 w 365"/>
                  <a:gd name="T3" fmla="*/ 123 h 498"/>
                  <a:gd name="T4" fmla="*/ 26 w 365"/>
                  <a:gd name="T5" fmla="*/ 83 h 498"/>
                  <a:gd name="T6" fmla="*/ 54 w 365"/>
                  <a:gd name="T7" fmla="*/ 53 h 498"/>
                  <a:gd name="T8" fmla="*/ 110 w 365"/>
                  <a:gd name="T9" fmla="*/ 18 h 498"/>
                  <a:gd name="T10" fmla="*/ 179 w 365"/>
                  <a:gd name="T11" fmla="*/ 0 h 498"/>
                  <a:gd name="T12" fmla="*/ 221 w 365"/>
                  <a:gd name="T13" fmla="*/ 9 h 498"/>
                  <a:gd name="T14" fmla="*/ 258 w 365"/>
                  <a:gd name="T15" fmla="*/ 29 h 498"/>
                  <a:gd name="T16" fmla="*/ 285 w 365"/>
                  <a:gd name="T17" fmla="*/ 71 h 498"/>
                  <a:gd name="T18" fmla="*/ 284 w 365"/>
                  <a:gd name="T19" fmla="*/ 107 h 498"/>
                  <a:gd name="T20" fmla="*/ 270 w 365"/>
                  <a:gd name="T21" fmla="*/ 147 h 498"/>
                  <a:gd name="T22" fmla="*/ 315 w 365"/>
                  <a:gd name="T23" fmla="*/ 167 h 498"/>
                  <a:gd name="T24" fmla="*/ 347 w 365"/>
                  <a:gd name="T25" fmla="*/ 194 h 498"/>
                  <a:gd name="T26" fmla="*/ 365 w 365"/>
                  <a:gd name="T27" fmla="*/ 233 h 498"/>
                  <a:gd name="T28" fmla="*/ 363 w 365"/>
                  <a:gd name="T29" fmla="*/ 266 h 498"/>
                  <a:gd name="T30" fmla="*/ 344 w 365"/>
                  <a:gd name="T31" fmla="*/ 300 h 498"/>
                  <a:gd name="T32" fmla="*/ 294 w 365"/>
                  <a:gd name="T33" fmla="*/ 353 h 498"/>
                  <a:gd name="T34" fmla="*/ 327 w 365"/>
                  <a:gd name="T35" fmla="*/ 380 h 498"/>
                  <a:gd name="T36" fmla="*/ 345 w 365"/>
                  <a:gd name="T37" fmla="*/ 416 h 498"/>
                  <a:gd name="T38" fmla="*/ 336 w 365"/>
                  <a:gd name="T39" fmla="*/ 458 h 498"/>
                  <a:gd name="T40" fmla="*/ 309 w 365"/>
                  <a:gd name="T41" fmla="*/ 483 h 498"/>
                  <a:gd name="T42" fmla="*/ 260 w 365"/>
                  <a:gd name="T43" fmla="*/ 498 h 498"/>
                  <a:gd name="T44" fmla="*/ 218 w 365"/>
                  <a:gd name="T45" fmla="*/ 494 h 498"/>
                  <a:gd name="T46" fmla="*/ 174 w 365"/>
                  <a:gd name="T47" fmla="*/ 477 h 498"/>
                  <a:gd name="T48" fmla="*/ 147 w 365"/>
                  <a:gd name="T49" fmla="*/ 455 h 498"/>
                  <a:gd name="T50" fmla="*/ 99 w 365"/>
                  <a:gd name="T51" fmla="*/ 458 h 498"/>
                  <a:gd name="T52" fmla="*/ 63 w 365"/>
                  <a:gd name="T53" fmla="*/ 450 h 498"/>
                  <a:gd name="T54" fmla="*/ 35 w 365"/>
                  <a:gd name="T55" fmla="*/ 431 h 498"/>
                  <a:gd name="T56" fmla="*/ 14 w 365"/>
                  <a:gd name="T57" fmla="*/ 396 h 498"/>
                  <a:gd name="T58" fmla="*/ 0 w 365"/>
                  <a:gd name="T59" fmla="*/ 362 h 498"/>
                  <a:gd name="T60" fmla="*/ 11 w 365"/>
                  <a:gd name="T61" fmla="*/ 326 h 498"/>
                  <a:gd name="T62" fmla="*/ 29 w 365"/>
                  <a:gd name="T63" fmla="*/ 305 h 498"/>
                  <a:gd name="T64" fmla="*/ 15 w 365"/>
                  <a:gd name="T65" fmla="*/ 260 h 498"/>
                  <a:gd name="T66" fmla="*/ 6 w 365"/>
                  <a:gd name="T67" fmla="*/ 215 h 498"/>
                  <a:gd name="T68" fmla="*/ 14 w 365"/>
                  <a:gd name="T69" fmla="*/ 179 h 498"/>
                  <a:gd name="T70" fmla="*/ 47 w 365"/>
                  <a:gd name="T71" fmla="*/ 156 h 49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65"/>
                  <a:gd name="T109" fmla="*/ 0 h 498"/>
                  <a:gd name="T110" fmla="*/ 365 w 365"/>
                  <a:gd name="T111" fmla="*/ 498 h 49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65" h="498">
                    <a:moveTo>
                      <a:pt x="47" y="156"/>
                    </a:moveTo>
                    <a:lnTo>
                      <a:pt x="27" y="123"/>
                    </a:lnTo>
                    <a:lnTo>
                      <a:pt x="26" y="83"/>
                    </a:lnTo>
                    <a:lnTo>
                      <a:pt x="54" y="53"/>
                    </a:lnTo>
                    <a:lnTo>
                      <a:pt x="110" y="18"/>
                    </a:lnTo>
                    <a:lnTo>
                      <a:pt x="179" y="0"/>
                    </a:lnTo>
                    <a:lnTo>
                      <a:pt x="221" y="9"/>
                    </a:lnTo>
                    <a:lnTo>
                      <a:pt x="258" y="29"/>
                    </a:lnTo>
                    <a:lnTo>
                      <a:pt x="285" y="71"/>
                    </a:lnTo>
                    <a:lnTo>
                      <a:pt x="284" y="107"/>
                    </a:lnTo>
                    <a:lnTo>
                      <a:pt x="270" y="147"/>
                    </a:lnTo>
                    <a:lnTo>
                      <a:pt x="315" y="167"/>
                    </a:lnTo>
                    <a:lnTo>
                      <a:pt x="347" y="194"/>
                    </a:lnTo>
                    <a:lnTo>
                      <a:pt x="365" y="233"/>
                    </a:lnTo>
                    <a:lnTo>
                      <a:pt x="363" y="266"/>
                    </a:lnTo>
                    <a:lnTo>
                      <a:pt x="344" y="300"/>
                    </a:lnTo>
                    <a:lnTo>
                      <a:pt x="294" y="353"/>
                    </a:lnTo>
                    <a:lnTo>
                      <a:pt x="327" y="380"/>
                    </a:lnTo>
                    <a:lnTo>
                      <a:pt x="345" y="416"/>
                    </a:lnTo>
                    <a:lnTo>
                      <a:pt x="336" y="458"/>
                    </a:lnTo>
                    <a:lnTo>
                      <a:pt x="309" y="483"/>
                    </a:lnTo>
                    <a:lnTo>
                      <a:pt x="260" y="498"/>
                    </a:lnTo>
                    <a:lnTo>
                      <a:pt x="218" y="494"/>
                    </a:lnTo>
                    <a:lnTo>
                      <a:pt x="174" y="477"/>
                    </a:lnTo>
                    <a:lnTo>
                      <a:pt x="147" y="455"/>
                    </a:lnTo>
                    <a:lnTo>
                      <a:pt x="99" y="458"/>
                    </a:lnTo>
                    <a:lnTo>
                      <a:pt x="63" y="450"/>
                    </a:lnTo>
                    <a:lnTo>
                      <a:pt x="35" y="431"/>
                    </a:lnTo>
                    <a:lnTo>
                      <a:pt x="14" y="396"/>
                    </a:lnTo>
                    <a:lnTo>
                      <a:pt x="0" y="362"/>
                    </a:lnTo>
                    <a:lnTo>
                      <a:pt x="11" y="326"/>
                    </a:lnTo>
                    <a:lnTo>
                      <a:pt x="29" y="305"/>
                    </a:lnTo>
                    <a:lnTo>
                      <a:pt x="15" y="260"/>
                    </a:lnTo>
                    <a:lnTo>
                      <a:pt x="6" y="215"/>
                    </a:lnTo>
                    <a:lnTo>
                      <a:pt x="14" y="179"/>
                    </a:lnTo>
                    <a:lnTo>
                      <a:pt x="47" y="1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0" name="Freeform 216"/>
              <p:cNvSpPr>
                <a:spLocks/>
              </p:cNvSpPr>
              <p:nvPr/>
            </p:nvSpPr>
            <p:spPr bwMode="auto">
              <a:xfrm>
                <a:off x="2343" y="2509"/>
                <a:ext cx="104" cy="150"/>
              </a:xfrm>
              <a:custGeom>
                <a:avLst/>
                <a:gdLst>
                  <a:gd name="T0" fmla="*/ 61 w 313"/>
                  <a:gd name="T1" fmla="*/ 137 h 450"/>
                  <a:gd name="T2" fmla="*/ 37 w 313"/>
                  <a:gd name="T3" fmla="*/ 110 h 450"/>
                  <a:gd name="T4" fmla="*/ 27 w 313"/>
                  <a:gd name="T5" fmla="*/ 80 h 450"/>
                  <a:gd name="T6" fmla="*/ 33 w 313"/>
                  <a:gd name="T7" fmla="*/ 57 h 450"/>
                  <a:gd name="T8" fmla="*/ 61 w 313"/>
                  <a:gd name="T9" fmla="*/ 30 h 450"/>
                  <a:gd name="T10" fmla="*/ 109 w 313"/>
                  <a:gd name="T11" fmla="*/ 11 h 450"/>
                  <a:gd name="T12" fmla="*/ 165 w 313"/>
                  <a:gd name="T13" fmla="*/ 0 h 450"/>
                  <a:gd name="T14" fmla="*/ 210 w 313"/>
                  <a:gd name="T15" fmla="*/ 18 h 450"/>
                  <a:gd name="T16" fmla="*/ 232 w 313"/>
                  <a:gd name="T17" fmla="*/ 47 h 450"/>
                  <a:gd name="T18" fmla="*/ 237 w 313"/>
                  <a:gd name="T19" fmla="*/ 72 h 450"/>
                  <a:gd name="T20" fmla="*/ 229 w 313"/>
                  <a:gd name="T21" fmla="*/ 99 h 450"/>
                  <a:gd name="T22" fmla="*/ 210 w 313"/>
                  <a:gd name="T23" fmla="*/ 134 h 450"/>
                  <a:gd name="T24" fmla="*/ 223 w 313"/>
                  <a:gd name="T25" fmla="*/ 144 h 450"/>
                  <a:gd name="T26" fmla="*/ 276 w 313"/>
                  <a:gd name="T27" fmla="*/ 158 h 450"/>
                  <a:gd name="T28" fmla="*/ 306 w 313"/>
                  <a:gd name="T29" fmla="*/ 189 h 450"/>
                  <a:gd name="T30" fmla="*/ 313 w 313"/>
                  <a:gd name="T31" fmla="*/ 224 h 450"/>
                  <a:gd name="T32" fmla="*/ 295 w 313"/>
                  <a:gd name="T33" fmla="*/ 255 h 450"/>
                  <a:gd name="T34" fmla="*/ 270 w 313"/>
                  <a:gd name="T35" fmla="*/ 293 h 450"/>
                  <a:gd name="T36" fmla="*/ 240 w 313"/>
                  <a:gd name="T37" fmla="*/ 323 h 450"/>
                  <a:gd name="T38" fmla="*/ 247 w 313"/>
                  <a:gd name="T39" fmla="*/ 333 h 450"/>
                  <a:gd name="T40" fmla="*/ 277 w 313"/>
                  <a:gd name="T41" fmla="*/ 360 h 450"/>
                  <a:gd name="T42" fmla="*/ 288 w 313"/>
                  <a:gd name="T43" fmla="*/ 384 h 450"/>
                  <a:gd name="T44" fmla="*/ 283 w 313"/>
                  <a:gd name="T45" fmla="*/ 414 h 450"/>
                  <a:gd name="T46" fmla="*/ 271 w 313"/>
                  <a:gd name="T47" fmla="*/ 440 h 450"/>
                  <a:gd name="T48" fmla="*/ 238 w 313"/>
                  <a:gd name="T49" fmla="*/ 450 h 450"/>
                  <a:gd name="T50" fmla="*/ 180 w 313"/>
                  <a:gd name="T51" fmla="*/ 440 h 450"/>
                  <a:gd name="T52" fmla="*/ 141 w 313"/>
                  <a:gd name="T53" fmla="*/ 404 h 450"/>
                  <a:gd name="T54" fmla="*/ 121 w 313"/>
                  <a:gd name="T55" fmla="*/ 405 h 450"/>
                  <a:gd name="T56" fmla="*/ 100 w 313"/>
                  <a:gd name="T57" fmla="*/ 411 h 450"/>
                  <a:gd name="T58" fmla="*/ 61 w 313"/>
                  <a:gd name="T59" fmla="*/ 408 h 450"/>
                  <a:gd name="T60" fmla="*/ 31 w 313"/>
                  <a:gd name="T61" fmla="*/ 389 h 450"/>
                  <a:gd name="T62" fmla="*/ 4 w 313"/>
                  <a:gd name="T63" fmla="*/ 345 h 450"/>
                  <a:gd name="T64" fmla="*/ 13 w 313"/>
                  <a:gd name="T65" fmla="*/ 305 h 450"/>
                  <a:gd name="T66" fmla="*/ 34 w 313"/>
                  <a:gd name="T67" fmla="*/ 288 h 450"/>
                  <a:gd name="T68" fmla="*/ 30 w 313"/>
                  <a:gd name="T69" fmla="*/ 270 h 450"/>
                  <a:gd name="T70" fmla="*/ 4 w 313"/>
                  <a:gd name="T71" fmla="*/ 224 h 450"/>
                  <a:gd name="T72" fmla="*/ 0 w 313"/>
                  <a:gd name="T73" fmla="*/ 192 h 450"/>
                  <a:gd name="T74" fmla="*/ 13 w 313"/>
                  <a:gd name="T75" fmla="*/ 161 h 450"/>
                  <a:gd name="T76" fmla="*/ 39 w 313"/>
                  <a:gd name="T77" fmla="*/ 146 h 450"/>
                  <a:gd name="T78" fmla="*/ 61 w 313"/>
                  <a:gd name="T79" fmla="*/ 137 h 45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13"/>
                  <a:gd name="T121" fmla="*/ 0 h 450"/>
                  <a:gd name="T122" fmla="*/ 313 w 313"/>
                  <a:gd name="T123" fmla="*/ 450 h 45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13" h="450">
                    <a:moveTo>
                      <a:pt x="61" y="137"/>
                    </a:moveTo>
                    <a:lnTo>
                      <a:pt x="37" y="110"/>
                    </a:lnTo>
                    <a:lnTo>
                      <a:pt x="27" y="80"/>
                    </a:lnTo>
                    <a:lnTo>
                      <a:pt x="33" y="57"/>
                    </a:lnTo>
                    <a:lnTo>
                      <a:pt x="61" y="30"/>
                    </a:lnTo>
                    <a:lnTo>
                      <a:pt x="109" y="11"/>
                    </a:lnTo>
                    <a:lnTo>
                      <a:pt x="165" y="0"/>
                    </a:lnTo>
                    <a:lnTo>
                      <a:pt x="210" y="18"/>
                    </a:lnTo>
                    <a:lnTo>
                      <a:pt x="232" y="47"/>
                    </a:lnTo>
                    <a:lnTo>
                      <a:pt x="237" y="72"/>
                    </a:lnTo>
                    <a:lnTo>
                      <a:pt x="229" y="99"/>
                    </a:lnTo>
                    <a:lnTo>
                      <a:pt x="210" y="134"/>
                    </a:lnTo>
                    <a:lnTo>
                      <a:pt x="223" y="144"/>
                    </a:lnTo>
                    <a:lnTo>
                      <a:pt x="276" y="158"/>
                    </a:lnTo>
                    <a:lnTo>
                      <a:pt x="306" y="189"/>
                    </a:lnTo>
                    <a:lnTo>
                      <a:pt x="313" y="224"/>
                    </a:lnTo>
                    <a:lnTo>
                      <a:pt x="295" y="255"/>
                    </a:lnTo>
                    <a:lnTo>
                      <a:pt x="270" y="293"/>
                    </a:lnTo>
                    <a:lnTo>
                      <a:pt x="240" y="323"/>
                    </a:lnTo>
                    <a:lnTo>
                      <a:pt x="247" y="333"/>
                    </a:lnTo>
                    <a:lnTo>
                      <a:pt x="277" y="360"/>
                    </a:lnTo>
                    <a:lnTo>
                      <a:pt x="288" y="384"/>
                    </a:lnTo>
                    <a:lnTo>
                      <a:pt x="283" y="414"/>
                    </a:lnTo>
                    <a:lnTo>
                      <a:pt x="271" y="440"/>
                    </a:lnTo>
                    <a:lnTo>
                      <a:pt x="238" y="450"/>
                    </a:lnTo>
                    <a:lnTo>
                      <a:pt x="180" y="440"/>
                    </a:lnTo>
                    <a:lnTo>
                      <a:pt x="141" y="404"/>
                    </a:lnTo>
                    <a:lnTo>
                      <a:pt x="121" y="405"/>
                    </a:lnTo>
                    <a:lnTo>
                      <a:pt x="100" y="411"/>
                    </a:lnTo>
                    <a:lnTo>
                      <a:pt x="61" y="408"/>
                    </a:lnTo>
                    <a:lnTo>
                      <a:pt x="31" y="389"/>
                    </a:lnTo>
                    <a:lnTo>
                      <a:pt x="4" y="345"/>
                    </a:lnTo>
                    <a:lnTo>
                      <a:pt x="13" y="305"/>
                    </a:lnTo>
                    <a:lnTo>
                      <a:pt x="34" y="288"/>
                    </a:lnTo>
                    <a:lnTo>
                      <a:pt x="30" y="270"/>
                    </a:lnTo>
                    <a:lnTo>
                      <a:pt x="4" y="224"/>
                    </a:lnTo>
                    <a:lnTo>
                      <a:pt x="0" y="192"/>
                    </a:lnTo>
                    <a:lnTo>
                      <a:pt x="13" y="161"/>
                    </a:lnTo>
                    <a:lnTo>
                      <a:pt x="39" y="146"/>
                    </a:lnTo>
                    <a:lnTo>
                      <a:pt x="61" y="137"/>
                    </a:lnTo>
                    <a:close/>
                  </a:path>
                </a:pathLst>
              </a:custGeom>
              <a:solidFill>
                <a:srgbClr val="3366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1" name="Freeform 217"/>
              <p:cNvSpPr>
                <a:spLocks/>
              </p:cNvSpPr>
              <p:nvPr/>
            </p:nvSpPr>
            <p:spPr bwMode="auto">
              <a:xfrm>
                <a:off x="2348" y="2509"/>
                <a:ext cx="81" cy="138"/>
              </a:xfrm>
              <a:custGeom>
                <a:avLst/>
                <a:gdLst>
                  <a:gd name="T0" fmla="*/ 19 w 244"/>
                  <a:gd name="T1" fmla="*/ 123 h 414"/>
                  <a:gd name="T2" fmla="*/ 78 w 244"/>
                  <a:gd name="T3" fmla="*/ 111 h 414"/>
                  <a:gd name="T4" fmla="*/ 120 w 244"/>
                  <a:gd name="T5" fmla="*/ 102 h 414"/>
                  <a:gd name="T6" fmla="*/ 118 w 244"/>
                  <a:gd name="T7" fmla="*/ 57 h 414"/>
                  <a:gd name="T8" fmla="*/ 103 w 244"/>
                  <a:gd name="T9" fmla="*/ 29 h 414"/>
                  <a:gd name="T10" fmla="*/ 85 w 244"/>
                  <a:gd name="T11" fmla="*/ 8 h 414"/>
                  <a:gd name="T12" fmla="*/ 106 w 244"/>
                  <a:gd name="T13" fmla="*/ 0 h 414"/>
                  <a:gd name="T14" fmla="*/ 132 w 244"/>
                  <a:gd name="T15" fmla="*/ 29 h 414"/>
                  <a:gd name="T16" fmla="*/ 142 w 244"/>
                  <a:gd name="T17" fmla="*/ 66 h 414"/>
                  <a:gd name="T18" fmla="*/ 139 w 244"/>
                  <a:gd name="T19" fmla="*/ 107 h 414"/>
                  <a:gd name="T20" fmla="*/ 181 w 244"/>
                  <a:gd name="T21" fmla="*/ 116 h 414"/>
                  <a:gd name="T22" fmla="*/ 213 w 244"/>
                  <a:gd name="T23" fmla="*/ 128 h 414"/>
                  <a:gd name="T24" fmla="*/ 207 w 244"/>
                  <a:gd name="T25" fmla="*/ 140 h 414"/>
                  <a:gd name="T26" fmla="*/ 169 w 244"/>
                  <a:gd name="T27" fmla="*/ 135 h 414"/>
                  <a:gd name="T28" fmla="*/ 150 w 244"/>
                  <a:gd name="T29" fmla="*/ 129 h 414"/>
                  <a:gd name="T30" fmla="*/ 168 w 244"/>
                  <a:gd name="T31" fmla="*/ 173 h 414"/>
                  <a:gd name="T32" fmla="*/ 168 w 244"/>
                  <a:gd name="T33" fmla="*/ 228 h 414"/>
                  <a:gd name="T34" fmla="*/ 162 w 244"/>
                  <a:gd name="T35" fmla="*/ 291 h 414"/>
                  <a:gd name="T36" fmla="*/ 196 w 244"/>
                  <a:gd name="T37" fmla="*/ 296 h 414"/>
                  <a:gd name="T38" fmla="*/ 244 w 244"/>
                  <a:gd name="T39" fmla="*/ 320 h 414"/>
                  <a:gd name="T40" fmla="*/ 244 w 244"/>
                  <a:gd name="T41" fmla="*/ 336 h 414"/>
                  <a:gd name="T42" fmla="*/ 208 w 244"/>
                  <a:gd name="T43" fmla="*/ 324 h 414"/>
                  <a:gd name="T44" fmla="*/ 160 w 244"/>
                  <a:gd name="T45" fmla="*/ 311 h 414"/>
                  <a:gd name="T46" fmla="*/ 141 w 244"/>
                  <a:gd name="T47" fmla="*/ 362 h 414"/>
                  <a:gd name="T48" fmla="*/ 124 w 244"/>
                  <a:gd name="T49" fmla="*/ 414 h 414"/>
                  <a:gd name="T50" fmla="*/ 103 w 244"/>
                  <a:gd name="T51" fmla="*/ 413 h 414"/>
                  <a:gd name="T52" fmla="*/ 115 w 244"/>
                  <a:gd name="T53" fmla="*/ 380 h 414"/>
                  <a:gd name="T54" fmla="*/ 121 w 244"/>
                  <a:gd name="T55" fmla="*/ 339 h 414"/>
                  <a:gd name="T56" fmla="*/ 132 w 244"/>
                  <a:gd name="T57" fmla="*/ 312 h 414"/>
                  <a:gd name="T58" fmla="*/ 87 w 244"/>
                  <a:gd name="T59" fmla="*/ 308 h 414"/>
                  <a:gd name="T60" fmla="*/ 40 w 244"/>
                  <a:gd name="T61" fmla="*/ 303 h 414"/>
                  <a:gd name="T62" fmla="*/ 3 w 244"/>
                  <a:gd name="T63" fmla="*/ 291 h 414"/>
                  <a:gd name="T64" fmla="*/ 0 w 244"/>
                  <a:gd name="T65" fmla="*/ 278 h 414"/>
                  <a:gd name="T66" fmla="*/ 39 w 244"/>
                  <a:gd name="T67" fmla="*/ 284 h 414"/>
                  <a:gd name="T68" fmla="*/ 76 w 244"/>
                  <a:gd name="T69" fmla="*/ 288 h 414"/>
                  <a:gd name="T70" fmla="*/ 132 w 244"/>
                  <a:gd name="T71" fmla="*/ 287 h 414"/>
                  <a:gd name="T72" fmla="*/ 139 w 244"/>
                  <a:gd name="T73" fmla="*/ 246 h 414"/>
                  <a:gd name="T74" fmla="*/ 135 w 244"/>
                  <a:gd name="T75" fmla="*/ 206 h 414"/>
                  <a:gd name="T76" fmla="*/ 129 w 244"/>
                  <a:gd name="T77" fmla="*/ 164 h 414"/>
                  <a:gd name="T78" fmla="*/ 117 w 244"/>
                  <a:gd name="T79" fmla="*/ 125 h 414"/>
                  <a:gd name="T80" fmla="*/ 21 w 244"/>
                  <a:gd name="T81" fmla="*/ 143 h 414"/>
                  <a:gd name="T82" fmla="*/ 19 w 244"/>
                  <a:gd name="T83" fmla="*/ 123 h 41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44"/>
                  <a:gd name="T127" fmla="*/ 0 h 414"/>
                  <a:gd name="T128" fmla="*/ 244 w 244"/>
                  <a:gd name="T129" fmla="*/ 414 h 41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44" h="414">
                    <a:moveTo>
                      <a:pt x="19" y="123"/>
                    </a:moveTo>
                    <a:lnTo>
                      <a:pt x="78" y="111"/>
                    </a:lnTo>
                    <a:lnTo>
                      <a:pt x="120" y="102"/>
                    </a:lnTo>
                    <a:lnTo>
                      <a:pt x="118" y="57"/>
                    </a:lnTo>
                    <a:lnTo>
                      <a:pt x="103" y="29"/>
                    </a:lnTo>
                    <a:lnTo>
                      <a:pt x="85" y="8"/>
                    </a:lnTo>
                    <a:lnTo>
                      <a:pt x="106" y="0"/>
                    </a:lnTo>
                    <a:lnTo>
                      <a:pt x="132" y="29"/>
                    </a:lnTo>
                    <a:lnTo>
                      <a:pt x="142" y="66"/>
                    </a:lnTo>
                    <a:lnTo>
                      <a:pt x="139" y="107"/>
                    </a:lnTo>
                    <a:lnTo>
                      <a:pt x="181" y="116"/>
                    </a:lnTo>
                    <a:lnTo>
                      <a:pt x="213" y="128"/>
                    </a:lnTo>
                    <a:lnTo>
                      <a:pt x="207" y="140"/>
                    </a:lnTo>
                    <a:lnTo>
                      <a:pt x="169" y="135"/>
                    </a:lnTo>
                    <a:lnTo>
                      <a:pt x="150" y="129"/>
                    </a:lnTo>
                    <a:lnTo>
                      <a:pt x="168" y="173"/>
                    </a:lnTo>
                    <a:lnTo>
                      <a:pt x="168" y="228"/>
                    </a:lnTo>
                    <a:lnTo>
                      <a:pt x="162" y="291"/>
                    </a:lnTo>
                    <a:lnTo>
                      <a:pt x="196" y="296"/>
                    </a:lnTo>
                    <a:lnTo>
                      <a:pt x="244" y="320"/>
                    </a:lnTo>
                    <a:lnTo>
                      <a:pt x="244" y="336"/>
                    </a:lnTo>
                    <a:lnTo>
                      <a:pt x="208" y="324"/>
                    </a:lnTo>
                    <a:lnTo>
                      <a:pt x="160" y="311"/>
                    </a:lnTo>
                    <a:lnTo>
                      <a:pt x="141" y="362"/>
                    </a:lnTo>
                    <a:lnTo>
                      <a:pt x="124" y="414"/>
                    </a:lnTo>
                    <a:lnTo>
                      <a:pt x="103" y="413"/>
                    </a:lnTo>
                    <a:lnTo>
                      <a:pt x="115" y="380"/>
                    </a:lnTo>
                    <a:lnTo>
                      <a:pt x="121" y="339"/>
                    </a:lnTo>
                    <a:lnTo>
                      <a:pt x="132" y="312"/>
                    </a:lnTo>
                    <a:lnTo>
                      <a:pt x="87" y="308"/>
                    </a:lnTo>
                    <a:lnTo>
                      <a:pt x="40" y="303"/>
                    </a:lnTo>
                    <a:lnTo>
                      <a:pt x="3" y="291"/>
                    </a:lnTo>
                    <a:lnTo>
                      <a:pt x="0" y="278"/>
                    </a:lnTo>
                    <a:lnTo>
                      <a:pt x="39" y="284"/>
                    </a:lnTo>
                    <a:lnTo>
                      <a:pt x="76" y="288"/>
                    </a:lnTo>
                    <a:lnTo>
                      <a:pt x="132" y="287"/>
                    </a:lnTo>
                    <a:lnTo>
                      <a:pt x="139" y="246"/>
                    </a:lnTo>
                    <a:lnTo>
                      <a:pt x="135" y="206"/>
                    </a:lnTo>
                    <a:lnTo>
                      <a:pt x="129" y="164"/>
                    </a:lnTo>
                    <a:lnTo>
                      <a:pt x="117" y="125"/>
                    </a:lnTo>
                    <a:lnTo>
                      <a:pt x="21" y="143"/>
                    </a:lnTo>
                    <a:lnTo>
                      <a:pt x="19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9" name="Group 218"/>
            <p:cNvGrpSpPr>
              <a:grpSpLocks/>
            </p:cNvGrpSpPr>
            <p:nvPr/>
          </p:nvGrpSpPr>
          <p:grpSpPr bwMode="auto">
            <a:xfrm>
              <a:off x="2346" y="2510"/>
              <a:ext cx="291" cy="563"/>
              <a:chOff x="2394" y="2366"/>
              <a:chExt cx="291" cy="563"/>
            </a:xfrm>
          </p:grpSpPr>
          <p:sp>
            <p:nvSpPr>
              <p:cNvPr id="303" name="Freeform 219"/>
              <p:cNvSpPr>
                <a:spLocks/>
              </p:cNvSpPr>
              <p:nvPr/>
            </p:nvSpPr>
            <p:spPr bwMode="auto">
              <a:xfrm>
                <a:off x="2394" y="2366"/>
                <a:ext cx="122" cy="116"/>
              </a:xfrm>
              <a:custGeom>
                <a:avLst/>
                <a:gdLst>
                  <a:gd name="T0" fmla="*/ 243 w 366"/>
                  <a:gd name="T1" fmla="*/ 156 h 347"/>
                  <a:gd name="T2" fmla="*/ 231 w 366"/>
                  <a:gd name="T3" fmla="*/ 101 h 347"/>
                  <a:gd name="T4" fmla="*/ 211 w 366"/>
                  <a:gd name="T5" fmla="*/ 59 h 347"/>
                  <a:gd name="T6" fmla="*/ 183 w 366"/>
                  <a:gd name="T7" fmla="*/ 20 h 347"/>
                  <a:gd name="T8" fmla="*/ 144 w 366"/>
                  <a:gd name="T9" fmla="*/ 0 h 347"/>
                  <a:gd name="T10" fmla="*/ 103 w 366"/>
                  <a:gd name="T11" fmla="*/ 6 h 347"/>
                  <a:gd name="T12" fmla="*/ 64 w 366"/>
                  <a:gd name="T13" fmla="*/ 27 h 347"/>
                  <a:gd name="T14" fmla="*/ 33 w 366"/>
                  <a:gd name="T15" fmla="*/ 59 h 347"/>
                  <a:gd name="T16" fmla="*/ 19 w 366"/>
                  <a:gd name="T17" fmla="*/ 105 h 347"/>
                  <a:gd name="T18" fmla="*/ 7 w 366"/>
                  <a:gd name="T19" fmla="*/ 138 h 347"/>
                  <a:gd name="T20" fmla="*/ 0 w 366"/>
                  <a:gd name="T21" fmla="*/ 192 h 347"/>
                  <a:gd name="T22" fmla="*/ 0 w 366"/>
                  <a:gd name="T23" fmla="*/ 249 h 347"/>
                  <a:gd name="T24" fmla="*/ 16 w 366"/>
                  <a:gd name="T25" fmla="*/ 297 h 347"/>
                  <a:gd name="T26" fmla="*/ 40 w 366"/>
                  <a:gd name="T27" fmla="*/ 324 h 347"/>
                  <a:gd name="T28" fmla="*/ 69 w 366"/>
                  <a:gd name="T29" fmla="*/ 336 h 347"/>
                  <a:gd name="T30" fmla="*/ 111 w 366"/>
                  <a:gd name="T31" fmla="*/ 347 h 347"/>
                  <a:gd name="T32" fmla="*/ 151 w 366"/>
                  <a:gd name="T33" fmla="*/ 341 h 347"/>
                  <a:gd name="T34" fmla="*/ 190 w 366"/>
                  <a:gd name="T35" fmla="*/ 321 h 347"/>
                  <a:gd name="T36" fmla="*/ 219 w 366"/>
                  <a:gd name="T37" fmla="*/ 275 h 347"/>
                  <a:gd name="T38" fmla="*/ 238 w 366"/>
                  <a:gd name="T39" fmla="*/ 236 h 347"/>
                  <a:gd name="T40" fmla="*/ 238 w 366"/>
                  <a:gd name="T41" fmla="*/ 195 h 347"/>
                  <a:gd name="T42" fmla="*/ 306 w 366"/>
                  <a:gd name="T43" fmla="*/ 203 h 347"/>
                  <a:gd name="T44" fmla="*/ 351 w 366"/>
                  <a:gd name="T45" fmla="*/ 215 h 347"/>
                  <a:gd name="T46" fmla="*/ 366 w 366"/>
                  <a:gd name="T47" fmla="*/ 195 h 347"/>
                  <a:gd name="T48" fmla="*/ 358 w 366"/>
                  <a:gd name="T49" fmla="*/ 168 h 347"/>
                  <a:gd name="T50" fmla="*/ 319 w 366"/>
                  <a:gd name="T51" fmla="*/ 162 h 347"/>
                  <a:gd name="T52" fmla="*/ 265 w 366"/>
                  <a:gd name="T53" fmla="*/ 155 h 347"/>
                  <a:gd name="T54" fmla="*/ 243 w 366"/>
                  <a:gd name="T55" fmla="*/ 156 h 347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66"/>
                  <a:gd name="T85" fmla="*/ 0 h 347"/>
                  <a:gd name="T86" fmla="*/ 366 w 366"/>
                  <a:gd name="T87" fmla="*/ 347 h 347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66" h="347">
                    <a:moveTo>
                      <a:pt x="243" y="156"/>
                    </a:moveTo>
                    <a:lnTo>
                      <a:pt x="231" y="101"/>
                    </a:lnTo>
                    <a:lnTo>
                      <a:pt x="211" y="59"/>
                    </a:lnTo>
                    <a:lnTo>
                      <a:pt x="183" y="20"/>
                    </a:lnTo>
                    <a:lnTo>
                      <a:pt x="144" y="0"/>
                    </a:lnTo>
                    <a:lnTo>
                      <a:pt x="103" y="6"/>
                    </a:lnTo>
                    <a:lnTo>
                      <a:pt x="64" y="27"/>
                    </a:lnTo>
                    <a:lnTo>
                      <a:pt x="33" y="59"/>
                    </a:lnTo>
                    <a:lnTo>
                      <a:pt x="19" y="105"/>
                    </a:lnTo>
                    <a:lnTo>
                      <a:pt x="7" y="138"/>
                    </a:lnTo>
                    <a:lnTo>
                      <a:pt x="0" y="192"/>
                    </a:lnTo>
                    <a:lnTo>
                      <a:pt x="0" y="249"/>
                    </a:lnTo>
                    <a:lnTo>
                      <a:pt x="16" y="297"/>
                    </a:lnTo>
                    <a:lnTo>
                      <a:pt x="40" y="324"/>
                    </a:lnTo>
                    <a:lnTo>
                      <a:pt x="69" y="336"/>
                    </a:lnTo>
                    <a:lnTo>
                      <a:pt x="111" y="347"/>
                    </a:lnTo>
                    <a:lnTo>
                      <a:pt x="151" y="341"/>
                    </a:lnTo>
                    <a:lnTo>
                      <a:pt x="190" y="321"/>
                    </a:lnTo>
                    <a:lnTo>
                      <a:pt x="219" y="275"/>
                    </a:lnTo>
                    <a:lnTo>
                      <a:pt x="238" y="236"/>
                    </a:lnTo>
                    <a:lnTo>
                      <a:pt x="238" y="195"/>
                    </a:lnTo>
                    <a:lnTo>
                      <a:pt x="306" y="203"/>
                    </a:lnTo>
                    <a:lnTo>
                      <a:pt x="351" y="215"/>
                    </a:lnTo>
                    <a:lnTo>
                      <a:pt x="366" y="195"/>
                    </a:lnTo>
                    <a:lnTo>
                      <a:pt x="358" y="168"/>
                    </a:lnTo>
                    <a:lnTo>
                      <a:pt x="319" y="162"/>
                    </a:lnTo>
                    <a:lnTo>
                      <a:pt x="265" y="155"/>
                    </a:lnTo>
                    <a:lnTo>
                      <a:pt x="243" y="1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4" name="Freeform 220"/>
              <p:cNvSpPr>
                <a:spLocks/>
              </p:cNvSpPr>
              <p:nvPr/>
            </p:nvSpPr>
            <p:spPr bwMode="auto">
              <a:xfrm>
                <a:off x="2408" y="2490"/>
                <a:ext cx="93" cy="191"/>
              </a:xfrm>
              <a:custGeom>
                <a:avLst/>
                <a:gdLst>
                  <a:gd name="T0" fmla="*/ 17 w 278"/>
                  <a:gd name="T1" fmla="*/ 50 h 573"/>
                  <a:gd name="T2" fmla="*/ 29 w 278"/>
                  <a:gd name="T3" fmla="*/ 21 h 573"/>
                  <a:gd name="T4" fmla="*/ 69 w 278"/>
                  <a:gd name="T5" fmla="*/ 3 h 573"/>
                  <a:gd name="T6" fmla="*/ 104 w 278"/>
                  <a:gd name="T7" fmla="*/ 0 h 573"/>
                  <a:gd name="T8" fmla="*/ 152 w 278"/>
                  <a:gd name="T9" fmla="*/ 3 h 573"/>
                  <a:gd name="T10" fmla="*/ 191 w 278"/>
                  <a:gd name="T11" fmla="*/ 21 h 573"/>
                  <a:gd name="T12" fmla="*/ 224 w 278"/>
                  <a:gd name="T13" fmla="*/ 65 h 573"/>
                  <a:gd name="T14" fmla="*/ 246 w 278"/>
                  <a:gd name="T15" fmla="*/ 114 h 573"/>
                  <a:gd name="T16" fmla="*/ 260 w 278"/>
                  <a:gd name="T17" fmla="*/ 176 h 573"/>
                  <a:gd name="T18" fmla="*/ 266 w 278"/>
                  <a:gd name="T19" fmla="*/ 240 h 573"/>
                  <a:gd name="T20" fmla="*/ 273 w 278"/>
                  <a:gd name="T21" fmla="*/ 315 h 573"/>
                  <a:gd name="T22" fmla="*/ 278 w 278"/>
                  <a:gd name="T23" fmla="*/ 377 h 573"/>
                  <a:gd name="T24" fmla="*/ 266 w 278"/>
                  <a:gd name="T25" fmla="*/ 443 h 573"/>
                  <a:gd name="T26" fmla="*/ 260 w 278"/>
                  <a:gd name="T27" fmla="*/ 506 h 573"/>
                  <a:gd name="T28" fmla="*/ 245 w 278"/>
                  <a:gd name="T29" fmla="*/ 534 h 573"/>
                  <a:gd name="T30" fmla="*/ 216 w 278"/>
                  <a:gd name="T31" fmla="*/ 561 h 573"/>
                  <a:gd name="T32" fmla="*/ 168 w 278"/>
                  <a:gd name="T33" fmla="*/ 573 h 573"/>
                  <a:gd name="T34" fmla="*/ 120 w 278"/>
                  <a:gd name="T35" fmla="*/ 570 h 573"/>
                  <a:gd name="T36" fmla="*/ 87 w 278"/>
                  <a:gd name="T37" fmla="*/ 563 h 573"/>
                  <a:gd name="T38" fmla="*/ 62 w 278"/>
                  <a:gd name="T39" fmla="*/ 540 h 573"/>
                  <a:gd name="T40" fmla="*/ 51 w 278"/>
                  <a:gd name="T41" fmla="*/ 501 h 573"/>
                  <a:gd name="T42" fmla="*/ 44 w 278"/>
                  <a:gd name="T43" fmla="*/ 443 h 573"/>
                  <a:gd name="T44" fmla="*/ 56 w 278"/>
                  <a:gd name="T45" fmla="*/ 383 h 573"/>
                  <a:gd name="T46" fmla="*/ 75 w 278"/>
                  <a:gd name="T47" fmla="*/ 344 h 573"/>
                  <a:gd name="T48" fmla="*/ 83 w 278"/>
                  <a:gd name="T49" fmla="*/ 311 h 573"/>
                  <a:gd name="T50" fmla="*/ 75 w 278"/>
                  <a:gd name="T51" fmla="*/ 264 h 573"/>
                  <a:gd name="T52" fmla="*/ 56 w 278"/>
                  <a:gd name="T53" fmla="*/ 222 h 573"/>
                  <a:gd name="T54" fmla="*/ 26 w 278"/>
                  <a:gd name="T55" fmla="*/ 185 h 573"/>
                  <a:gd name="T56" fmla="*/ 9 w 278"/>
                  <a:gd name="T57" fmla="*/ 140 h 573"/>
                  <a:gd name="T58" fmla="*/ 0 w 278"/>
                  <a:gd name="T59" fmla="*/ 104 h 573"/>
                  <a:gd name="T60" fmla="*/ 3 w 278"/>
                  <a:gd name="T61" fmla="*/ 75 h 573"/>
                  <a:gd name="T62" fmla="*/ 17 w 278"/>
                  <a:gd name="T63" fmla="*/ 50 h 57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8"/>
                  <a:gd name="T97" fmla="*/ 0 h 573"/>
                  <a:gd name="T98" fmla="*/ 278 w 278"/>
                  <a:gd name="T99" fmla="*/ 573 h 57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8" h="573">
                    <a:moveTo>
                      <a:pt x="17" y="50"/>
                    </a:moveTo>
                    <a:lnTo>
                      <a:pt x="29" y="21"/>
                    </a:lnTo>
                    <a:lnTo>
                      <a:pt x="69" y="3"/>
                    </a:lnTo>
                    <a:lnTo>
                      <a:pt x="104" y="0"/>
                    </a:lnTo>
                    <a:lnTo>
                      <a:pt x="152" y="3"/>
                    </a:lnTo>
                    <a:lnTo>
                      <a:pt x="191" y="21"/>
                    </a:lnTo>
                    <a:lnTo>
                      <a:pt x="224" y="65"/>
                    </a:lnTo>
                    <a:lnTo>
                      <a:pt x="246" y="114"/>
                    </a:lnTo>
                    <a:lnTo>
                      <a:pt x="260" y="176"/>
                    </a:lnTo>
                    <a:lnTo>
                      <a:pt x="266" y="240"/>
                    </a:lnTo>
                    <a:lnTo>
                      <a:pt x="273" y="315"/>
                    </a:lnTo>
                    <a:lnTo>
                      <a:pt x="278" y="377"/>
                    </a:lnTo>
                    <a:lnTo>
                      <a:pt x="266" y="443"/>
                    </a:lnTo>
                    <a:lnTo>
                      <a:pt x="260" y="506"/>
                    </a:lnTo>
                    <a:lnTo>
                      <a:pt x="245" y="534"/>
                    </a:lnTo>
                    <a:lnTo>
                      <a:pt x="216" y="561"/>
                    </a:lnTo>
                    <a:lnTo>
                      <a:pt x="168" y="573"/>
                    </a:lnTo>
                    <a:lnTo>
                      <a:pt x="120" y="570"/>
                    </a:lnTo>
                    <a:lnTo>
                      <a:pt x="87" y="563"/>
                    </a:lnTo>
                    <a:lnTo>
                      <a:pt x="62" y="540"/>
                    </a:lnTo>
                    <a:lnTo>
                      <a:pt x="51" y="501"/>
                    </a:lnTo>
                    <a:lnTo>
                      <a:pt x="44" y="443"/>
                    </a:lnTo>
                    <a:lnTo>
                      <a:pt x="56" y="383"/>
                    </a:lnTo>
                    <a:lnTo>
                      <a:pt x="75" y="344"/>
                    </a:lnTo>
                    <a:lnTo>
                      <a:pt x="83" y="311"/>
                    </a:lnTo>
                    <a:lnTo>
                      <a:pt x="75" y="264"/>
                    </a:lnTo>
                    <a:lnTo>
                      <a:pt x="56" y="222"/>
                    </a:lnTo>
                    <a:lnTo>
                      <a:pt x="26" y="185"/>
                    </a:lnTo>
                    <a:lnTo>
                      <a:pt x="9" y="140"/>
                    </a:lnTo>
                    <a:lnTo>
                      <a:pt x="0" y="104"/>
                    </a:lnTo>
                    <a:lnTo>
                      <a:pt x="3" y="75"/>
                    </a:lnTo>
                    <a:lnTo>
                      <a:pt x="17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5" name="Freeform 221"/>
              <p:cNvSpPr>
                <a:spLocks/>
              </p:cNvSpPr>
              <p:nvPr/>
            </p:nvSpPr>
            <p:spPr bwMode="auto">
              <a:xfrm>
                <a:off x="2413" y="2499"/>
                <a:ext cx="208" cy="127"/>
              </a:xfrm>
              <a:custGeom>
                <a:avLst/>
                <a:gdLst>
                  <a:gd name="T0" fmla="*/ 46 w 625"/>
                  <a:gd name="T1" fmla="*/ 126 h 381"/>
                  <a:gd name="T2" fmla="*/ 0 w 625"/>
                  <a:gd name="T3" fmla="*/ 72 h 381"/>
                  <a:gd name="T4" fmla="*/ 7 w 625"/>
                  <a:gd name="T5" fmla="*/ 29 h 381"/>
                  <a:gd name="T6" fmla="*/ 24 w 625"/>
                  <a:gd name="T7" fmla="*/ 0 h 381"/>
                  <a:gd name="T8" fmla="*/ 69 w 625"/>
                  <a:gd name="T9" fmla="*/ 15 h 381"/>
                  <a:gd name="T10" fmla="*/ 96 w 625"/>
                  <a:gd name="T11" fmla="*/ 48 h 381"/>
                  <a:gd name="T12" fmla="*/ 139 w 625"/>
                  <a:gd name="T13" fmla="*/ 101 h 381"/>
                  <a:gd name="T14" fmla="*/ 205 w 625"/>
                  <a:gd name="T15" fmla="*/ 162 h 381"/>
                  <a:gd name="T16" fmla="*/ 267 w 625"/>
                  <a:gd name="T17" fmla="*/ 207 h 381"/>
                  <a:gd name="T18" fmla="*/ 343 w 625"/>
                  <a:gd name="T19" fmla="*/ 249 h 381"/>
                  <a:gd name="T20" fmla="*/ 433 w 625"/>
                  <a:gd name="T21" fmla="*/ 282 h 381"/>
                  <a:gd name="T22" fmla="*/ 499 w 625"/>
                  <a:gd name="T23" fmla="*/ 302 h 381"/>
                  <a:gd name="T24" fmla="*/ 528 w 625"/>
                  <a:gd name="T25" fmla="*/ 302 h 381"/>
                  <a:gd name="T26" fmla="*/ 558 w 625"/>
                  <a:gd name="T27" fmla="*/ 281 h 381"/>
                  <a:gd name="T28" fmla="*/ 577 w 625"/>
                  <a:gd name="T29" fmla="*/ 273 h 381"/>
                  <a:gd name="T30" fmla="*/ 616 w 625"/>
                  <a:gd name="T31" fmla="*/ 291 h 381"/>
                  <a:gd name="T32" fmla="*/ 625 w 625"/>
                  <a:gd name="T33" fmla="*/ 333 h 381"/>
                  <a:gd name="T34" fmla="*/ 598 w 625"/>
                  <a:gd name="T35" fmla="*/ 366 h 381"/>
                  <a:gd name="T36" fmla="*/ 558 w 625"/>
                  <a:gd name="T37" fmla="*/ 381 h 381"/>
                  <a:gd name="T38" fmla="*/ 514 w 625"/>
                  <a:gd name="T39" fmla="*/ 381 h 381"/>
                  <a:gd name="T40" fmla="*/ 480 w 625"/>
                  <a:gd name="T41" fmla="*/ 353 h 381"/>
                  <a:gd name="T42" fmla="*/ 447 w 625"/>
                  <a:gd name="T43" fmla="*/ 327 h 381"/>
                  <a:gd name="T44" fmla="*/ 345 w 625"/>
                  <a:gd name="T45" fmla="*/ 302 h 381"/>
                  <a:gd name="T46" fmla="*/ 261 w 625"/>
                  <a:gd name="T47" fmla="*/ 261 h 381"/>
                  <a:gd name="T48" fmla="*/ 183 w 625"/>
                  <a:gd name="T49" fmla="*/ 231 h 381"/>
                  <a:gd name="T50" fmla="*/ 96 w 625"/>
                  <a:gd name="T51" fmla="*/ 188 h 381"/>
                  <a:gd name="T52" fmla="*/ 46 w 625"/>
                  <a:gd name="T53" fmla="*/ 126 h 3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25"/>
                  <a:gd name="T82" fmla="*/ 0 h 381"/>
                  <a:gd name="T83" fmla="*/ 625 w 625"/>
                  <a:gd name="T84" fmla="*/ 381 h 38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25" h="381">
                    <a:moveTo>
                      <a:pt x="46" y="126"/>
                    </a:moveTo>
                    <a:lnTo>
                      <a:pt x="0" y="72"/>
                    </a:lnTo>
                    <a:lnTo>
                      <a:pt x="7" y="29"/>
                    </a:lnTo>
                    <a:lnTo>
                      <a:pt x="24" y="0"/>
                    </a:lnTo>
                    <a:lnTo>
                      <a:pt x="69" y="15"/>
                    </a:lnTo>
                    <a:lnTo>
                      <a:pt x="96" y="48"/>
                    </a:lnTo>
                    <a:lnTo>
                      <a:pt x="139" y="101"/>
                    </a:lnTo>
                    <a:lnTo>
                      <a:pt x="205" y="162"/>
                    </a:lnTo>
                    <a:lnTo>
                      <a:pt x="267" y="207"/>
                    </a:lnTo>
                    <a:lnTo>
                      <a:pt x="343" y="249"/>
                    </a:lnTo>
                    <a:lnTo>
                      <a:pt x="433" y="282"/>
                    </a:lnTo>
                    <a:lnTo>
                      <a:pt x="499" y="302"/>
                    </a:lnTo>
                    <a:lnTo>
                      <a:pt x="528" y="302"/>
                    </a:lnTo>
                    <a:lnTo>
                      <a:pt x="558" y="281"/>
                    </a:lnTo>
                    <a:lnTo>
                      <a:pt x="577" y="273"/>
                    </a:lnTo>
                    <a:lnTo>
                      <a:pt x="616" y="291"/>
                    </a:lnTo>
                    <a:lnTo>
                      <a:pt x="625" y="333"/>
                    </a:lnTo>
                    <a:lnTo>
                      <a:pt x="598" y="366"/>
                    </a:lnTo>
                    <a:lnTo>
                      <a:pt x="558" y="381"/>
                    </a:lnTo>
                    <a:lnTo>
                      <a:pt x="514" y="381"/>
                    </a:lnTo>
                    <a:lnTo>
                      <a:pt x="480" y="353"/>
                    </a:lnTo>
                    <a:lnTo>
                      <a:pt x="447" y="327"/>
                    </a:lnTo>
                    <a:lnTo>
                      <a:pt x="345" y="302"/>
                    </a:lnTo>
                    <a:lnTo>
                      <a:pt x="261" y="261"/>
                    </a:lnTo>
                    <a:lnTo>
                      <a:pt x="183" y="231"/>
                    </a:lnTo>
                    <a:lnTo>
                      <a:pt x="96" y="188"/>
                    </a:lnTo>
                    <a:lnTo>
                      <a:pt x="46" y="1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6" name="Freeform 222"/>
              <p:cNvSpPr>
                <a:spLocks/>
              </p:cNvSpPr>
              <p:nvPr/>
            </p:nvSpPr>
            <p:spPr bwMode="auto">
              <a:xfrm>
                <a:off x="2433" y="2492"/>
                <a:ext cx="252" cy="76"/>
              </a:xfrm>
              <a:custGeom>
                <a:avLst/>
                <a:gdLst>
                  <a:gd name="T0" fmla="*/ 65 w 755"/>
                  <a:gd name="T1" fmla="*/ 8 h 227"/>
                  <a:gd name="T2" fmla="*/ 137 w 755"/>
                  <a:gd name="T3" fmla="*/ 3 h 227"/>
                  <a:gd name="T4" fmla="*/ 252 w 755"/>
                  <a:gd name="T5" fmla="*/ 8 h 227"/>
                  <a:gd name="T6" fmla="*/ 363 w 755"/>
                  <a:gd name="T7" fmla="*/ 15 h 227"/>
                  <a:gd name="T8" fmla="*/ 455 w 755"/>
                  <a:gd name="T9" fmla="*/ 36 h 227"/>
                  <a:gd name="T10" fmla="*/ 563 w 755"/>
                  <a:gd name="T11" fmla="*/ 66 h 227"/>
                  <a:gd name="T12" fmla="*/ 650 w 755"/>
                  <a:gd name="T13" fmla="*/ 75 h 227"/>
                  <a:gd name="T14" fmla="*/ 669 w 755"/>
                  <a:gd name="T15" fmla="*/ 44 h 227"/>
                  <a:gd name="T16" fmla="*/ 690 w 755"/>
                  <a:gd name="T17" fmla="*/ 0 h 227"/>
                  <a:gd name="T18" fmla="*/ 710 w 755"/>
                  <a:gd name="T19" fmla="*/ 3 h 227"/>
                  <a:gd name="T20" fmla="*/ 723 w 755"/>
                  <a:gd name="T21" fmla="*/ 27 h 227"/>
                  <a:gd name="T22" fmla="*/ 698 w 755"/>
                  <a:gd name="T23" fmla="*/ 66 h 227"/>
                  <a:gd name="T24" fmla="*/ 683 w 755"/>
                  <a:gd name="T25" fmla="*/ 83 h 227"/>
                  <a:gd name="T26" fmla="*/ 705 w 755"/>
                  <a:gd name="T27" fmla="*/ 104 h 227"/>
                  <a:gd name="T28" fmla="*/ 735 w 755"/>
                  <a:gd name="T29" fmla="*/ 126 h 227"/>
                  <a:gd name="T30" fmla="*/ 755 w 755"/>
                  <a:gd name="T31" fmla="*/ 161 h 227"/>
                  <a:gd name="T32" fmla="*/ 755 w 755"/>
                  <a:gd name="T33" fmla="*/ 194 h 227"/>
                  <a:gd name="T34" fmla="*/ 734 w 755"/>
                  <a:gd name="T35" fmla="*/ 227 h 227"/>
                  <a:gd name="T36" fmla="*/ 698 w 755"/>
                  <a:gd name="T37" fmla="*/ 222 h 227"/>
                  <a:gd name="T38" fmla="*/ 683 w 755"/>
                  <a:gd name="T39" fmla="*/ 194 h 227"/>
                  <a:gd name="T40" fmla="*/ 669 w 755"/>
                  <a:gd name="T41" fmla="*/ 155 h 227"/>
                  <a:gd name="T42" fmla="*/ 633 w 755"/>
                  <a:gd name="T43" fmla="*/ 117 h 227"/>
                  <a:gd name="T44" fmla="*/ 570 w 755"/>
                  <a:gd name="T45" fmla="*/ 99 h 227"/>
                  <a:gd name="T46" fmla="*/ 455 w 755"/>
                  <a:gd name="T47" fmla="*/ 90 h 227"/>
                  <a:gd name="T48" fmla="*/ 344 w 755"/>
                  <a:gd name="T49" fmla="*/ 68 h 227"/>
                  <a:gd name="T50" fmla="*/ 233 w 755"/>
                  <a:gd name="T51" fmla="*/ 68 h 227"/>
                  <a:gd name="T52" fmla="*/ 149 w 755"/>
                  <a:gd name="T53" fmla="*/ 83 h 227"/>
                  <a:gd name="T54" fmla="*/ 71 w 755"/>
                  <a:gd name="T55" fmla="*/ 83 h 227"/>
                  <a:gd name="T56" fmla="*/ 33 w 755"/>
                  <a:gd name="T57" fmla="*/ 68 h 227"/>
                  <a:gd name="T58" fmla="*/ 0 w 755"/>
                  <a:gd name="T59" fmla="*/ 42 h 227"/>
                  <a:gd name="T60" fmla="*/ 39 w 755"/>
                  <a:gd name="T61" fmla="*/ 8 h 227"/>
                  <a:gd name="T62" fmla="*/ 65 w 755"/>
                  <a:gd name="T63" fmla="*/ 8 h 22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755"/>
                  <a:gd name="T97" fmla="*/ 0 h 227"/>
                  <a:gd name="T98" fmla="*/ 755 w 755"/>
                  <a:gd name="T99" fmla="*/ 227 h 22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755" h="227">
                    <a:moveTo>
                      <a:pt x="65" y="8"/>
                    </a:moveTo>
                    <a:lnTo>
                      <a:pt x="137" y="3"/>
                    </a:lnTo>
                    <a:lnTo>
                      <a:pt x="252" y="8"/>
                    </a:lnTo>
                    <a:lnTo>
                      <a:pt x="363" y="15"/>
                    </a:lnTo>
                    <a:lnTo>
                      <a:pt x="455" y="36"/>
                    </a:lnTo>
                    <a:lnTo>
                      <a:pt x="563" y="66"/>
                    </a:lnTo>
                    <a:lnTo>
                      <a:pt x="650" y="75"/>
                    </a:lnTo>
                    <a:lnTo>
                      <a:pt x="669" y="44"/>
                    </a:lnTo>
                    <a:lnTo>
                      <a:pt x="690" y="0"/>
                    </a:lnTo>
                    <a:lnTo>
                      <a:pt x="710" y="3"/>
                    </a:lnTo>
                    <a:lnTo>
                      <a:pt x="723" y="27"/>
                    </a:lnTo>
                    <a:lnTo>
                      <a:pt x="698" y="66"/>
                    </a:lnTo>
                    <a:lnTo>
                      <a:pt x="683" y="83"/>
                    </a:lnTo>
                    <a:lnTo>
                      <a:pt x="705" y="104"/>
                    </a:lnTo>
                    <a:lnTo>
                      <a:pt x="735" y="126"/>
                    </a:lnTo>
                    <a:lnTo>
                      <a:pt x="755" y="161"/>
                    </a:lnTo>
                    <a:lnTo>
                      <a:pt x="755" y="194"/>
                    </a:lnTo>
                    <a:lnTo>
                      <a:pt x="734" y="227"/>
                    </a:lnTo>
                    <a:lnTo>
                      <a:pt x="698" y="222"/>
                    </a:lnTo>
                    <a:lnTo>
                      <a:pt x="683" y="194"/>
                    </a:lnTo>
                    <a:lnTo>
                      <a:pt x="669" y="155"/>
                    </a:lnTo>
                    <a:lnTo>
                      <a:pt x="633" y="117"/>
                    </a:lnTo>
                    <a:lnTo>
                      <a:pt x="570" y="99"/>
                    </a:lnTo>
                    <a:lnTo>
                      <a:pt x="455" y="90"/>
                    </a:lnTo>
                    <a:lnTo>
                      <a:pt x="344" y="68"/>
                    </a:lnTo>
                    <a:lnTo>
                      <a:pt x="233" y="68"/>
                    </a:lnTo>
                    <a:lnTo>
                      <a:pt x="149" y="83"/>
                    </a:lnTo>
                    <a:lnTo>
                      <a:pt x="71" y="83"/>
                    </a:lnTo>
                    <a:lnTo>
                      <a:pt x="33" y="68"/>
                    </a:lnTo>
                    <a:lnTo>
                      <a:pt x="0" y="42"/>
                    </a:lnTo>
                    <a:lnTo>
                      <a:pt x="39" y="8"/>
                    </a:lnTo>
                    <a:lnTo>
                      <a:pt x="65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7" name="Freeform 223"/>
              <p:cNvSpPr>
                <a:spLocks/>
              </p:cNvSpPr>
              <p:nvPr/>
            </p:nvSpPr>
            <p:spPr bwMode="auto">
              <a:xfrm>
                <a:off x="2457" y="2646"/>
                <a:ext cx="148" cy="230"/>
              </a:xfrm>
              <a:custGeom>
                <a:avLst/>
                <a:gdLst>
                  <a:gd name="T0" fmla="*/ 19 w 445"/>
                  <a:gd name="T1" fmla="*/ 0 h 690"/>
                  <a:gd name="T2" fmla="*/ 79 w 445"/>
                  <a:gd name="T3" fmla="*/ 7 h 690"/>
                  <a:gd name="T4" fmla="*/ 142 w 445"/>
                  <a:gd name="T5" fmla="*/ 61 h 690"/>
                  <a:gd name="T6" fmla="*/ 225 w 445"/>
                  <a:gd name="T7" fmla="*/ 133 h 690"/>
                  <a:gd name="T8" fmla="*/ 270 w 445"/>
                  <a:gd name="T9" fmla="*/ 201 h 690"/>
                  <a:gd name="T10" fmla="*/ 294 w 445"/>
                  <a:gd name="T11" fmla="*/ 258 h 690"/>
                  <a:gd name="T12" fmla="*/ 301 w 445"/>
                  <a:gd name="T13" fmla="*/ 333 h 690"/>
                  <a:gd name="T14" fmla="*/ 289 w 445"/>
                  <a:gd name="T15" fmla="*/ 445 h 690"/>
                  <a:gd name="T16" fmla="*/ 274 w 445"/>
                  <a:gd name="T17" fmla="*/ 540 h 690"/>
                  <a:gd name="T18" fmla="*/ 282 w 445"/>
                  <a:gd name="T19" fmla="*/ 573 h 690"/>
                  <a:gd name="T20" fmla="*/ 313 w 445"/>
                  <a:gd name="T21" fmla="*/ 603 h 690"/>
                  <a:gd name="T22" fmla="*/ 382 w 445"/>
                  <a:gd name="T23" fmla="*/ 616 h 690"/>
                  <a:gd name="T24" fmla="*/ 439 w 445"/>
                  <a:gd name="T25" fmla="*/ 637 h 690"/>
                  <a:gd name="T26" fmla="*/ 445 w 445"/>
                  <a:gd name="T27" fmla="*/ 660 h 690"/>
                  <a:gd name="T28" fmla="*/ 433 w 445"/>
                  <a:gd name="T29" fmla="*/ 675 h 690"/>
                  <a:gd name="T30" fmla="*/ 354 w 445"/>
                  <a:gd name="T31" fmla="*/ 690 h 690"/>
                  <a:gd name="T32" fmla="*/ 313 w 445"/>
                  <a:gd name="T33" fmla="*/ 658 h 690"/>
                  <a:gd name="T34" fmla="*/ 262 w 445"/>
                  <a:gd name="T35" fmla="*/ 637 h 690"/>
                  <a:gd name="T36" fmla="*/ 222 w 445"/>
                  <a:gd name="T37" fmla="*/ 637 h 690"/>
                  <a:gd name="T38" fmla="*/ 210 w 445"/>
                  <a:gd name="T39" fmla="*/ 616 h 690"/>
                  <a:gd name="T40" fmla="*/ 222 w 445"/>
                  <a:gd name="T41" fmla="*/ 583 h 690"/>
                  <a:gd name="T42" fmla="*/ 231 w 445"/>
                  <a:gd name="T43" fmla="*/ 555 h 690"/>
                  <a:gd name="T44" fmla="*/ 225 w 445"/>
                  <a:gd name="T45" fmla="*/ 477 h 690"/>
                  <a:gd name="T46" fmla="*/ 235 w 445"/>
                  <a:gd name="T47" fmla="*/ 399 h 690"/>
                  <a:gd name="T48" fmla="*/ 243 w 445"/>
                  <a:gd name="T49" fmla="*/ 325 h 690"/>
                  <a:gd name="T50" fmla="*/ 225 w 445"/>
                  <a:gd name="T51" fmla="*/ 255 h 690"/>
                  <a:gd name="T52" fmla="*/ 177 w 445"/>
                  <a:gd name="T53" fmla="*/ 219 h 690"/>
                  <a:gd name="T54" fmla="*/ 118 w 445"/>
                  <a:gd name="T55" fmla="*/ 177 h 690"/>
                  <a:gd name="T56" fmla="*/ 63 w 445"/>
                  <a:gd name="T57" fmla="*/ 126 h 690"/>
                  <a:gd name="T58" fmla="*/ 16 w 445"/>
                  <a:gd name="T59" fmla="*/ 81 h 690"/>
                  <a:gd name="T60" fmla="*/ 0 w 445"/>
                  <a:gd name="T61" fmla="*/ 46 h 690"/>
                  <a:gd name="T62" fmla="*/ 19 w 445"/>
                  <a:gd name="T63" fmla="*/ 0 h 69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45"/>
                  <a:gd name="T97" fmla="*/ 0 h 690"/>
                  <a:gd name="T98" fmla="*/ 445 w 445"/>
                  <a:gd name="T99" fmla="*/ 690 h 69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45" h="690">
                    <a:moveTo>
                      <a:pt x="19" y="0"/>
                    </a:moveTo>
                    <a:lnTo>
                      <a:pt x="79" y="7"/>
                    </a:lnTo>
                    <a:lnTo>
                      <a:pt x="142" y="61"/>
                    </a:lnTo>
                    <a:lnTo>
                      <a:pt x="225" y="133"/>
                    </a:lnTo>
                    <a:lnTo>
                      <a:pt x="270" y="201"/>
                    </a:lnTo>
                    <a:lnTo>
                      <a:pt x="294" y="258"/>
                    </a:lnTo>
                    <a:lnTo>
                      <a:pt x="301" y="333"/>
                    </a:lnTo>
                    <a:lnTo>
                      <a:pt x="289" y="445"/>
                    </a:lnTo>
                    <a:lnTo>
                      <a:pt x="274" y="540"/>
                    </a:lnTo>
                    <a:lnTo>
                      <a:pt x="282" y="573"/>
                    </a:lnTo>
                    <a:lnTo>
                      <a:pt x="313" y="603"/>
                    </a:lnTo>
                    <a:lnTo>
                      <a:pt x="382" y="616"/>
                    </a:lnTo>
                    <a:lnTo>
                      <a:pt x="439" y="637"/>
                    </a:lnTo>
                    <a:lnTo>
                      <a:pt x="445" y="660"/>
                    </a:lnTo>
                    <a:lnTo>
                      <a:pt x="433" y="675"/>
                    </a:lnTo>
                    <a:lnTo>
                      <a:pt x="354" y="690"/>
                    </a:lnTo>
                    <a:lnTo>
                      <a:pt x="313" y="658"/>
                    </a:lnTo>
                    <a:lnTo>
                      <a:pt x="262" y="637"/>
                    </a:lnTo>
                    <a:lnTo>
                      <a:pt x="222" y="637"/>
                    </a:lnTo>
                    <a:lnTo>
                      <a:pt x="210" y="616"/>
                    </a:lnTo>
                    <a:lnTo>
                      <a:pt x="222" y="583"/>
                    </a:lnTo>
                    <a:lnTo>
                      <a:pt x="231" y="555"/>
                    </a:lnTo>
                    <a:lnTo>
                      <a:pt x="225" y="477"/>
                    </a:lnTo>
                    <a:lnTo>
                      <a:pt x="235" y="399"/>
                    </a:lnTo>
                    <a:lnTo>
                      <a:pt x="243" y="325"/>
                    </a:lnTo>
                    <a:lnTo>
                      <a:pt x="225" y="255"/>
                    </a:lnTo>
                    <a:lnTo>
                      <a:pt x="177" y="219"/>
                    </a:lnTo>
                    <a:lnTo>
                      <a:pt x="118" y="177"/>
                    </a:lnTo>
                    <a:lnTo>
                      <a:pt x="63" y="126"/>
                    </a:lnTo>
                    <a:lnTo>
                      <a:pt x="16" y="81"/>
                    </a:lnTo>
                    <a:lnTo>
                      <a:pt x="0" y="46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8" name="Freeform 224"/>
              <p:cNvSpPr>
                <a:spLocks/>
              </p:cNvSpPr>
              <p:nvPr/>
            </p:nvSpPr>
            <p:spPr bwMode="auto">
              <a:xfrm>
                <a:off x="2415" y="2658"/>
                <a:ext cx="90" cy="271"/>
              </a:xfrm>
              <a:custGeom>
                <a:avLst/>
                <a:gdLst>
                  <a:gd name="T0" fmla="*/ 119 w 270"/>
                  <a:gd name="T1" fmla="*/ 0 h 813"/>
                  <a:gd name="T2" fmla="*/ 68 w 270"/>
                  <a:gd name="T3" fmla="*/ 32 h 813"/>
                  <a:gd name="T4" fmla="*/ 41 w 270"/>
                  <a:gd name="T5" fmla="*/ 117 h 813"/>
                  <a:gd name="T6" fmla="*/ 5 w 270"/>
                  <a:gd name="T7" fmla="*/ 221 h 813"/>
                  <a:gd name="T8" fmla="*/ 0 w 270"/>
                  <a:gd name="T9" fmla="*/ 308 h 813"/>
                  <a:gd name="T10" fmla="*/ 11 w 270"/>
                  <a:gd name="T11" fmla="*/ 369 h 813"/>
                  <a:gd name="T12" fmla="*/ 41 w 270"/>
                  <a:gd name="T13" fmla="*/ 438 h 813"/>
                  <a:gd name="T14" fmla="*/ 111 w 270"/>
                  <a:gd name="T15" fmla="*/ 531 h 813"/>
                  <a:gd name="T16" fmla="*/ 174 w 270"/>
                  <a:gd name="T17" fmla="*/ 608 h 813"/>
                  <a:gd name="T18" fmla="*/ 186 w 270"/>
                  <a:gd name="T19" fmla="*/ 645 h 813"/>
                  <a:gd name="T20" fmla="*/ 171 w 270"/>
                  <a:gd name="T21" fmla="*/ 686 h 813"/>
                  <a:gd name="T22" fmla="*/ 119 w 270"/>
                  <a:gd name="T23" fmla="*/ 734 h 813"/>
                  <a:gd name="T24" fmla="*/ 77 w 270"/>
                  <a:gd name="T25" fmla="*/ 782 h 813"/>
                  <a:gd name="T26" fmla="*/ 84 w 270"/>
                  <a:gd name="T27" fmla="*/ 804 h 813"/>
                  <a:gd name="T28" fmla="*/ 99 w 270"/>
                  <a:gd name="T29" fmla="*/ 813 h 813"/>
                  <a:gd name="T30" fmla="*/ 185 w 270"/>
                  <a:gd name="T31" fmla="*/ 785 h 813"/>
                  <a:gd name="T32" fmla="*/ 203 w 270"/>
                  <a:gd name="T33" fmla="*/ 735 h 813"/>
                  <a:gd name="T34" fmla="*/ 234 w 270"/>
                  <a:gd name="T35" fmla="*/ 690 h 813"/>
                  <a:gd name="T36" fmla="*/ 270 w 270"/>
                  <a:gd name="T37" fmla="*/ 668 h 813"/>
                  <a:gd name="T38" fmla="*/ 267 w 270"/>
                  <a:gd name="T39" fmla="*/ 647 h 813"/>
                  <a:gd name="T40" fmla="*/ 245 w 270"/>
                  <a:gd name="T41" fmla="*/ 624 h 813"/>
                  <a:gd name="T42" fmla="*/ 221 w 270"/>
                  <a:gd name="T43" fmla="*/ 602 h 813"/>
                  <a:gd name="T44" fmla="*/ 186 w 270"/>
                  <a:gd name="T45" fmla="*/ 528 h 813"/>
                  <a:gd name="T46" fmla="*/ 135 w 270"/>
                  <a:gd name="T47" fmla="*/ 467 h 813"/>
                  <a:gd name="T48" fmla="*/ 87 w 270"/>
                  <a:gd name="T49" fmla="*/ 408 h 813"/>
                  <a:gd name="T50" fmla="*/ 68 w 270"/>
                  <a:gd name="T51" fmla="*/ 327 h 813"/>
                  <a:gd name="T52" fmla="*/ 90 w 270"/>
                  <a:gd name="T53" fmla="*/ 272 h 813"/>
                  <a:gd name="T54" fmla="*/ 123 w 270"/>
                  <a:gd name="T55" fmla="*/ 209 h 813"/>
                  <a:gd name="T56" fmla="*/ 147 w 270"/>
                  <a:gd name="T57" fmla="*/ 137 h 813"/>
                  <a:gd name="T58" fmla="*/ 159 w 270"/>
                  <a:gd name="T59" fmla="*/ 71 h 813"/>
                  <a:gd name="T60" fmla="*/ 159 w 270"/>
                  <a:gd name="T61" fmla="*/ 32 h 813"/>
                  <a:gd name="T62" fmla="*/ 119 w 270"/>
                  <a:gd name="T63" fmla="*/ 0 h 81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0"/>
                  <a:gd name="T97" fmla="*/ 0 h 813"/>
                  <a:gd name="T98" fmla="*/ 270 w 270"/>
                  <a:gd name="T99" fmla="*/ 813 h 81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0" h="813">
                    <a:moveTo>
                      <a:pt x="119" y="0"/>
                    </a:moveTo>
                    <a:lnTo>
                      <a:pt x="68" y="32"/>
                    </a:lnTo>
                    <a:lnTo>
                      <a:pt x="41" y="117"/>
                    </a:lnTo>
                    <a:lnTo>
                      <a:pt x="5" y="221"/>
                    </a:lnTo>
                    <a:lnTo>
                      <a:pt x="0" y="308"/>
                    </a:lnTo>
                    <a:lnTo>
                      <a:pt x="11" y="369"/>
                    </a:lnTo>
                    <a:lnTo>
                      <a:pt x="41" y="438"/>
                    </a:lnTo>
                    <a:lnTo>
                      <a:pt x="111" y="531"/>
                    </a:lnTo>
                    <a:lnTo>
                      <a:pt x="174" y="608"/>
                    </a:lnTo>
                    <a:lnTo>
                      <a:pt x="186" y="645"/>
                    </a:lnTo>
                    <a:lnTo>
                      <a:pt x="171" y="686"/>
                    </a:lnTo>
                    <a:lnTo>
                      <a:pt x="119" y="734"/>
                    </a:lnTo>
                    <a:lnTo>
                      <a:pt x="77" y="782"/>
                    </a:lnTo>
                    <a:lnTo>
                      <a:pt x="84" y="804"/>
                    </a:lnTo>
                    <a:lnTo>
                      <a:pt x="99" y="813"/>
                    </a:lnTo>
                    <a:lnTo>
                      <a:pt x="185" y="785"/>
                    </a:lnTo>
                    <a:lnTo>
                      <a:pt x="203" y="735"/>
                    </a:lnTo>
                    <a:lnTo>
                      <a:pt x="234" y="690"/>
                    </a:lnTo>
                    <a:lnTo>
                      <a:pt x="270" y="668"/>
                    </a:lnTo>
                    <a:lnTo>
                      <a:pt x="267" y="647"/>
                    </a:lnTo>
                    <a:lnTo>
                      <a:pt x="245" y="624"/>
                    </a:lnTo>
                    <a:lnTo>
                      <a:pt x="221" y="602"/>
                    </a:lnTo>
                    <a:lnTo>
                      <a:pt x="186" y="528"/>
                    </a:lnTo>
                    <a:lnTo>
                      <a:pt x="135" y="467"/>
                    </a:lnTo>
                    <a:lnTo>
                      <a:pt x="87" y="408"/>
                    </a:lnTo>
                    <a:lnTo>
                      <a:pt x="68" y="327"/>
                    </a:lnTo>
                    <a:lnTo>
                      <a:pt x="90" y="272"/>
                    </a:lnTo>
                    <a:lnTo>
                      <a:pt x="123" y="209"/>
                    </a:lnTo>
                    <a:lnTo>
                      <a:pt x="147" y="137"/>
                    </a:lnTo>
                    <a:lnTo>
                      <a:pt x="159" y="71"/>
                    </a:lnTo>
                    <a:lnTo>
                      <a:pt x="159" y="32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0" name="Group 225"/>
            <p:cNvGrpSpPr>
              <a:grpSpLocks/>
            </p:cNvGrpSpPr>
            <p:nvPr/>
          </p:nvGrpSpPr>
          <p:grpSpPr bwMode="auto">
            <a:xfrm>
              <a:off x="2112" y="2976"/>
              <a:ext cx="1104" cy="720"/>
              <a:chOff x="3600" y="3320"/>
              <a:chExt cx="1824" cy="536"/>
            </a:xfrm>
          </p:grpSpPr>
          <p:sp>
            <p:nvSpPr>
              <p:cNvPr id="296" name="Freeform 226"/>
              <p:cNvSpPr>
                <a:spLocks/>
              </p:cNvSpPr>
              <p:nvPr/>
            </p:nvSpPr>
            <p:spPr bwMode="auto">
              <a:xfrm>
                <a:off x="4735" y="3602"/>
                <a:ext cx="237" cy="119"/>
              </a:xfrm>
              <a:custGeom>
                <a:avLst/>
                <a:gdLst>
                  <a:gd name="T0" fmla="*/ 233 w 475"/>
                  <a:gd name="T1" fmla="*/ 0 h 236"/>
                  <a:gd name="T2" fmla="*/ 0 w 475"/>
                  <a:gd name="T3" fmla="*/ 77 h 236"/>
                  <a:gd name="T4" fmla="*/ 50 w 475"/>
                  <a:gd name="T5" fmla="*/ 190 h 236"/>
                  <a:gd name="T6" fmla="*/ 57 w 475"/>
                  <a:gd name="T7" fmla="*/ 192 h 236"/>
                  <a:gd name="T8" fmla="*/ 73 w 475"/>
                  <a:gd name="T9" fmla="*/ 198 h 236"/>
                  <a:gd name="T10" fmla="*/ 97 w 475"/>
                  <a:gd name="T11" fmla="*/ 206 h 236"/>
                  <a:gd name="T12" fmla="*/ 126 w 475"/>
                  <a:gd name="T13" fmla="*/ 215 h 236"/>
                  <a:gd name="T14" fmla="*/ 156 w 475"/>
                  <a:gd name="T15" fmla="*/ 224 h 236"/>
                  <a:gd name="T16" fmla="*/ 184 w 475"/>
                  <a:gd name="T17" fmla="*/ 232 h 236"/>
                  <a:gd name="T18" fmla="*/ 207 w 475"/>
                  <a:gd name="T19" fmla="*/ 236 h 236"/>
                  <a:gd name="T20" fmla="*/ 221 w 475"/>
                  <a:gd name="T21" fmla="*/ 236 h 236"/>
                  <a:gd name="T22" fmla="*/ 238 w 475"/>
                  <a:gd name="T23" fmla="*/ 232 h 236"/>
                  <a:gd name="T24" fmla="*/ 270 w 475"/>
                  <a:gd name="T25" fmla="*/ 221 h 236"/>
                  <a:gd name="T26" fmla="*/ 313 w 475"/>
                  <a:gd name="T27" fmla="*/ 208 h 236"/>
                  <a:gd name="T28" fmla="*/ 357 w 475"/>
                  <a:gd name="T29" fmla="*/ 193 h 236"/>
                  <a:gd name="T30" fmla="*/ 401 w 475"/>
                  <a:gd name="T31" fmla="*/ 180 h 236"/>
                  <a:gd name="T32" fmla="*/ 438 w 475"/>
                  <a:gd name="T33" fmla="*/ 166 h 236"/>
                  <a:gd name="T34" fmla="*/ 464 w 475"/>
                  <a:gd name="T35" fmla="*/ 157 h 236"/>
                  <a:gd name="T36" fmla="*/ 475 w 475"/>
                  <a:gd name="T37" fmla="*/ 154 h 236"/>
                  <a:gd name="T38" fmla="*/ 233 w 475"/>
                  <a:gd name="T39" fmla="*/ 0 h 2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75"/>
                  <a:gd name="T61" fmla="*/ 0 h 236"/>
                  <a:gd name="T62" fmla="*/ 475 w 475"/>
                  <a:gd name="T63" fmla="*/ 236 h 2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75" h="236">
                    <a:moveTo>
                      <a:pt x="233" y="0"/>
                    </a:moveTo>
                    <a:lnTo>
                      <a:pt x="0" y="77"/>
                    </a:lnTo>
                    <a:lnTo>
                      <a:pt x="50" y="190"/>
                    </a:lnTo>
                    <a:lnTo>
                      <a:pt x="57" y="192"/>
                    </a:lnTo>
                    <a:lnTo>
                      <a:pt x="73" y="198"/>
                    </a:lnTo>
                    <a:lnTo>
                      <a:pt x="97" y="206"/>
                    </a:lnTo>
                    <a:lnTo>
                      <a:pt x="126" y="215"/>
                    </a:lnTo>
                    <a:lnTo>
                      <a:pt x="156" y="224"/>
                    </a:lnTo>
                    <a:lnTo>
                      <a:pt x="184" y="232"/>
                    </a:lnTo>
                    <a:lnTo>
                      <a:pt x="207" y="236"/>
                    </a:lnTo>
                    <a:lnTo>
                      <a:pt x="221" y="236"/>
                    </a:lnTo>
                    <a:lnTo>
                      <a:pt x="238" y="232"/>
                    </a:lnTo>
                    <a:lnTo>
                      <a:pt x="270" y="221"/>
                    </a:lnTo>
                    <a:lnTo>
                      <a:pt x="313" y="208"/>
                    </a:lnTo>
                    <a:lnTo>
                      <a:pt x="357" y="193"/>
                    </a:lnTo>
                    <a:lnTo>
                      <a:pt x="401" y="180"/>
                    </a:lnTo>
                    <a:lnTo>
                      <a:pt x="438" y="166"/>
                    </a:lnTo>
                    <a:lnTo>
                      <a:pt x="464" y="157"/>
                    </a:lnTo>
                    <a:lnTo>
                      <a:pt x="475" y="154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7" name="Freeform 227"/>
              <p:cNvSpPr>
                <a:spLocks/>
              </p:cNvSpPr>
              <p:nvPr/>
            </p:nvSpPr>
            <p:spPr bwMode="auto">
              <a:xfrm>
                <a:off x="4026" y="3348"/>
                <a:ext cx="422" cy="249"/>
              </a:xfrm>
              <a:custGeom>
                <a:avLst/>
                <a:gdLst>
                  <a:gd name="T0" fmla="*/ 342 w 845"/>
                  <a:gd name="T1" fmla="*/ 0 h 499"/>
                  <a:gd name="T2" fmla="*/ 189 w 845"/>
                  <a:gd name="T3" fmla="*/ 112 h 499"/>
                  <a:gd name="T4" fmla="*/ 0 w 845"/>
                  <a:gd name="T5" fmla="*/ 227 h 499"/>
                  <a:gd name="T6" fmla="*/ 7 w 845"/>
                  <a:gd name="T7" fmla="*/ 237 h 499"/>
                  <a:gd name="T8" fmla="*/ 28 w 845"/>
                  <a:gd name="T9" fmla="*/ 262 h 499"/>
                  <a:gd name="T10" fmla="*/ 56 w 845"/>
                  <a:gd name="T11" fmla="*/ 300 h 499"/>
                  <a:gd name="T12" fmla="*/ 92 w 845"/>
                  <a:gd name="T13" fmla="*/ 341 h 499"/>
                  <a:gd name="T14" fmla="*/ 127 w 845"/>
                  <a:gd name="T15" fmla="*/ 383 h 499"/>
                  <a:gd name="T16" fmla="*/ 162 w 845"/>
                  <a:gd name="T17" fmla="*/ 418 h 499"/>
                  <a:gd name="T18" fmla="*/ 192 w 845"/>
                  <a:gd name="T19" fmla="*/ 444 h 499"/>
                  <a:gd name="T20" fmla="*/ 213 w 845"/>
                  <a:gd name="T21" fmla="*/ 451 h 499"/>
                  <a:gd name="T22" fmla="*/ 224 w 845"/>
                  <a:gd name="T23" fmla="*/ 450 h 499"/>
                  <a:gd name="T24" fmla="*/ 238 w 845"/>
                  <a:gd name="T25" fmla="*/ 448 h 499"/>
                  <a:gd name="T26" fmla="*/ 256 w 845"/>
                  <a:gd name="T27" fmla="*/ 445 h 499"/>
                  <a:gd name="T28" fmla="*/ 275 w 845"/>
                  <a:gd name="T29" fmla="*/ 442 h 499"/>
                  <a:gd name="T30" fmla="*/ 298 w 845"/>
                  <a:gd name="T31" fmla="*/ 438 h 499"/>
                  <a:gd name="T32" fmla="*/ 321 w 845"/>
                  <a:gd name="T33" fmla="*/ 435 h 499"/>
                  <a:gd name="T34" fmla="*/ 346 w 845"/>
                  <a:gd name="T35" fmla="*/ 430 h 499"/>
                  <a:gd name="T36" fmla="*/ 370 w 845"/>
                  <a:gd name="T37" fmla="*/ 426 h 499"/>
                  <a:gd name="T38" fmla="*/ 395 w 845"/>
                  <a:gd name="T39" fmla="*/ 423 h 499"/>
                  <a:gd name="T40" fmla="*/ 418 w 845"/>
                  <a:gd name="T41" fmla="*/ 418 h 499"/>
                  <a:gd name="T42" fmla="*/ 439 w 845"/>
                  <a:gd name="T43" fmla="*/ 415 h 499"/>
                  <a:gd name="T44" fmla="*/ 457 w 845"/>
                  <a:gd name="T45" fmla="*/ 411 h 499"/>
                  <a:gd name="T46" fmla="*/ 473 w 845"/>
                  <a:gd name="T47" fmla="*/ 409 h 499"/>
                  <a:gd name="T48" fmla="*/ 485 w 845"/>
                  <a:gd name="T49" fmla="*/ 407 h 499"/>
                  <a:gd name="T50" fmla="*/ 492 w 845"/>
                  <a:gd name="T51" fmla="*/ 405 h 499"/>
                  <a:gd name="T52" fmla="*/ 496 w 845"/>
                  <a:gd name="T53" fmla="*/ 405 h 499"/>
                  <a:gd name="T54" fmla="*/ 697 w 845"/>
                  <a:gd name="T55" fmla="*/ 499 h 499"/>
                  <a:gd name="T56" fmla="*/ 845 w 845"/>
                  <a:gd name="T57" fmla="*/ 374 h 499"/>
                  <a:gd name="T58" fmla="*/ 759 w 845"/>
                  <a:gd name="T59" fmla="*/ 286 h 499"/>
                  <a:gd name="T60" fmla="*/ 550 w 845"/>
                  <a:gd name="T61" fmla="*/ 190 h 499"/>
                  <a:gd name="T62" fmla="*/ 342 w 845"/>
                  <a:gd name="T63" fmla="*/ 0 h 4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45"/>
                  <a:gd name="T97" fmla="*/ 0 h 499"/>
                  <a:gd name="T98" fmla="*/ 845 w 845"/>
                  <a:gd name="T99" fmla="*/ 499 h 49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45" h="499">
                    <a:moveTo>
                      <a:pt x="342" y="0"/>
                    </a:moveTo>
                    <a:lnTo>
                      <a:pt x="189" y="112"/>
                    </a:lnTo>
                    <a:lnTo>
                      <a:pt x="0" y="227"/>
                    </a:lnTo>
                    <a:lnTo>
                      <a:pt x="7" y="237"/>
                    </a:lnTo>
                    <a:lnTo>
                      <a:pt x="28" y="262"/>
                    </a:lnTo>
                    <a:lnTo>
                      <a:pt x="56" y="300"/>
                    </a:lnTo>
                    <a:lnTo>
                      <a:pt x="92" y="341"/>
                    </a:lnTo>
                    <a:lnTo>
                      <a:pt x="127" y="383"/>
                    </a:lnTo>
                    <a:lnTo>
                      <a:pt x="162" y="418"/>
                    </a:lnTo>
                    <a:lnTo>
                      <a:pt x="192" y="444"/>
                    </a:lnTo>
                    <a:lnTo>
                      <a:pt x="213" y="451"/>
                    </a:lnTo>
                    <a:lnTo>
                      <a:pt x="224" y="450"/>
                    </a:lnTo>
                    <a:lnTo>
                      <a:pt x="238" y="448"/>
                    </a:lnTo>
                    <a:lnTo>
                      <a:pt x="256" y="445"/>
                    </a:lnTo>
                    <a:lnTo>
                      <a:pt x="275" y="442"/>
                    </a:lnTo>
                    <a:lnTo>
                      <a:pt x="298" y="438"/>
                    </a:lnTo>
                    <a:lnTo>
                      <a:pt x="321" y="435"/>
                    </a:lnTo>
                    <a:lnTo>
                      <a:pt x="346" y="430"/>
                    </a:lnTo>
                    <a:lnTo>
                      <a:pt x="370" y="426"/>
                    </a:lnTo>
                    <a:lnTo>
                      <a:pt x="395" y="423"/>
                    </a:lnTo>
                    <a:lnTo>
                      <a:pt x="418" y="418"/>
                    </a:lnTo>
                    <a:lnTo>
                      <a:pt x="439" y="415"/>
                    </a:lnTo>
                    <a:lnTo>
                      <a:pt x="457" y="411"/>
                    </a:lnTo>
                    <a:lnTo>
                      <a:pt x="473" y="409"/>
                    </a:lnTo>
                    <a:lnTo>
                      <a:pt x="485" y="407"/>
                    </a:lnTo>
                    <a:lnTo>
                      <a:pt x="492" y="405"/>
                    </a:lnTo>
                    <a:lnTo>
                      <a:pt x="496" y="405"/>
                    </a:lnTo>
                    <a:lnTo>
                      <a:pt x="697" y="499"/>
                    </a:lnTo>
                    <a:lnTo>
                      <a:pt x="845" y="374"/>
                    </a:lnTo>
                    <a:lnTo>
                      <a:pt x="759" y="286"/>
                    </a:lnTo>
                    <a:lnTo>
                      <a:pt x="550" y="190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8" name="Freeform 228"/>
              <p:cNvSpPr>
                <a:spLocks/>
              </p:cNvSpPr>
              <p:nvPr/>
            </p:nvSpPr>
            <p:spPr bwMode="auto">
              <a:xfrm>
                <a:off x="3662" y="3443"/>
                <a:ext cx="1762" cy="413"/>
              </a:xfrm>
              <a:custGeom>
                <a:avLst/>
                <a:gdLst>
                  <a:gd name="T0" fmla="*/ 763 w 3525"/>
                  <a:gd name="T1" fmla="*/ 0 h 825"/>
                  <a:gd name="T2" fmla="*/ 0 w 3525"/>
                  <a:gd name="T3" fmla="*/ 473 h 825"/>
                  <a:gd name="T4" fmla="*/ 22 w 3525"/>
                  <a:gd name="T5" fmla="*/ 470 h 825"/>
                  <a:gd name="T6" fmla="*/ 78 w 3525"/>
                  <a:gd name="T7" fmla="*/ 462 h 825"/>
                  <a:gd name="T8" fmla="*/ 163 w 3525"/>
                  <a:gd name="T9" fmla="*/ 457 h 825"/>
                  <a:gd name="T10" fmla="*/ 272 w 3525"/>
                  <a:gd name="T11" fmla="*/ 457 h 825"/>
                  <a:gd name="T12" fmla="*/ 397 w 3525"/>
                  <a:gd name="T13" fmla="*/ 472 h 825"/>
                  <a:gd name="T14" fmla="*/ 530 w 3525"/>
                  <a:gd name="T15" fmla="*/ 503 h 825"/>
                  <a:gd name="T16" fmla="*/ 666 w 3525"/>
                  <a:gd name="T17" fmla="*/ 558 h 825"/>
                  <a:gd name="T18" fmla="*/ 798 w 3525"/>
                  <a:gd name="T19" fmla="*/ 641 h 825"/>
                  <a:gd name="T20" fmla="*/ 800 w 3525"/>
                  <a:gd name="T21" fmla="*/ 640 h 825"/>
                  <a:gd name="T22" fmla="*/ 808 w 3525"/>
                  <a:gd name="T23" fmla="*/ 634 h 825"/>
                  <a:gd name="T24" fmla="*/ 828 w 3525"/>
                  <a:gd name="T25" fmla="*/ 625 h 825"/>
                  <a:gd name="T26" fmla="*/ 865 w 3525"/>
                  <a:gd name="T27" fmla="*/ 613 h 825"/>
                  <a:gd name="T28" fmla="*/ 920 w 3525"/>
                  <a:gd name="T29" fmla="*/ 600 h 825"/>
                  <a:gd name="T30" fmla="*/ 999 w 3525"/>
                  <a:gd name="T31" fmla="*/ 583 h 825"/>
                  <a:gd name="T32" fmla="*/ 1108 w 3525"/>
                  <a:gd name="T33" fmla="*/ 567 h 825"/>
                  <a:gd name="T34" fmla="*/ 1249 w 3525"/>
                  <a:gd name="T35" fmla="*/ 549 h 825"/>
                  <a:gd name="T36" fmla="*/ 1419 w 3525"/>
                  <a:gd name="T37" fmla="*/ 540 h 825"/>
                  <a:gd name="T38" fmla="*/ 1579 w 3525"/>
                  <a:gd name="T39" fmla="*/ 549 h 825"/>
                  <a:gd name="T40" fmla="*/ 1731 w 3525"/>
                  <a:gd name="T41" fmla="*/ 571 h 825"/>
                  <a:gd name="T42" fmla="*/ 1870 w 3525"/>
                  <a:gd name="T43" fmla="*/ 603 h 825"/>
                  <a:gd name="T44" fmla="*/ 1996 w 3525"/>
                  <a:gd name="T45" fmla="*/ 637 h 825"/>
                  <a:gd name="T46" fmla="*/ 2103 w 3525"/>
                  <a:gd name="T47" fmla="*/ 672 h 825"/>
                  <a:gd name="T48" fmla="*/ 2193 w 3525"/>
                  <a:gd name="T49" fmla="*/ 702 h 825"/>
                  <a:gd name="T50" fmla="*/ 2264 w 3525"/>
                  <a:gd name="T51" fmla="*/ 723 h 825"/>
                  <a:gd name="T52" fmla="*/ 2285 w 3525"/>
                  <a:gd name="T53" fmla="*/ 721 h 825"/>
                  <a:gd name="T54" fmla="*/ 2345 w 3525"/>
                  <a:gd name="T55" fmla="*/ 719 h 825"/>
                  <a:gd name="T56" fmla="*/ 2431 w 3525"/>
                  <a:gd name="T57" fmla="*/ 717 h 825"/>
                  <a:gd name="T58" fmla="*/ 2537 w 3525"/>
                  <a:gd name="T59" fmla="*/ 716 h 825"/>
                  <a:gd name="T60" fmla="*/ 2652 w 3525"/>
                  <a:gd name="T61" fmla="*/ 717 h 825"/>
                  <a:gd name="T62" fmla="*/ 2765 w 3525"/>
                  <a:gd name="T63" fmla="*/ 723 h 825"/>
                  <a:gd name="T64" fmla="*/ 2871 w 3525"/>
                  <a:gd name="T65" fmla="*/ 735 h 825"/>
                  <a:gd name="T66" fmla="*/ 2955 w 3525"/>
                  <a:gd name="T67" fmla="*/ 754 h 825"/>
                  <a:gd name="T68" fmla="*/ 3028 w 3525"/>
                  <a:gd name="T69" fmla="*/ 775 h 825"/>
                  <a:gd name="T70" fmla="*/ 3096 w 3525"/>
                  <a:gd name="T71" fmla="*/ 791 h 825"/>
                  <a:gd name="T72" fmla="*/ 3167 w 3525"/>
                  <a:gd name="T73" fmla="*/ 803 h 825"/>
                  <a:gd name="T74" fmla="*/ 3236 w 3525"/>
                  <a:gd name="T75" fmla="*/ 812 h 825"/>
                  <a:gd name="T76" fmla="*/ 3304 w 3525"/>
                  <a:gd name="T77" fmla="*/ 820 h 825"/>
                  <a:gd name="T78" fmla="*/ 3377 w 3525"/>
                  <a:gd name="T79" fmla="*/ 822 h 825"/>
                  <a:gd name="T80" fmla="*/ 3449 w 3525"/>
                  <a:gd name="T81" fmla="*/ 825 h 825"/>
                  <a:gd name="T82" fmla="*/ 3525 w 3525"/>
                  <a:gd name="T83" fmla="*/ 825 h 825"/>
                  <a:gd name="T84" fmla="*/ 3506 w 3525"/>
                  <a:gd name="T85" fmla="*/ 820 h 825"/>
                  <a:gd name="T86" fmla="*/ 3451 w 3525"/>
                  <a:gd name="T87" fmla="*/ 803 h 825"/>
                  <a:gd name="T88" fmla="*/ 3372 w 3525"/>
                  <a:gd name="T89" fmla="*/ 776 h 825"/>
                  <a:gd name="T90" fmla="*/ 3278 w 3525"/>
                  <a:gd name="T91" fmla="*/ 742 h 825"/>
                  <a:gd name="T92" fmla="*/ 3177 w 3525"/>
                  <a:gd name="T93" fmla="*/ 702 h 825"/>
                  <a:gd name="T94" fmla="*/ 3080 w 3525"/>
                  <a:gd name="T95" fmla="*/ 658 h 825"/>
                  <a:gd name="T96" fmla="*/ 2994 w 3525"/>
                  <a:gd name="T97" fmla="*/ 609 h 825"/>
                  <a:gd name="T98" fmla="*/ 2931 w 3525"/>
                  <a:gd name="T99" fmla="*/ 560 h 825"/>
                  <a:gd name="T100" fmla="*/ 2352 w 3525"/>
                  <a:gd name="T101" fmla="*/ 521 h 825"/>
                  <a:gd name="T102" fmla="*/ 2094 w 3525"/>
                  <a:gd name="T103" fmla="*/ 386 h 825"/>
                  <a:gd name="T104" fmla="*/ 1574 w 3525"/>
                  <a:gd name="T105" fmla="*/ 162 h 825"/>
                  <a:gd name="T106" fmla="*/ 1256 w 3525"/>
                  <a:gd name="T107" fmla="*/ 208 h 825"/>
                  <a:gd name="T108" fmla="*/ 932 w 3525"/>
                  <a:gd name="T109" fmla="*/ 248 h 825"/>
                  <a:gd name="T110" fmla="*/ 886 w 3525"/>
                  <a:gd name="T111" fmla="*/ 126 h 825"/>
                  <a:gd name="T112" fmla="*/ 830 w 3525"/>
                  <a:gd name="T113" fmla="*/ 59 h 8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525"/>
                  <a:gd name="T172" fmla="*/ 0 h 825"/>
                  <a:gd name="T173" fmla="*/ 3525 w 3525"/>
                  <a:gd name="T174" fmla="*/ 825 h 8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525" h="825">
                    <a:moveTo>
                      <a:pt x="835" y="69"/>
                    </a:moveTo>
                    <a:lnTo>
                      <a:pt x="763" y="0"/>
                    </a:lnTo>
                    <a:lnTo>
                      <a:pt x="519" y="222"/>
                    </a:lnTo>
                    <a:lnTo>
                      <a:pt x="0" y="473"/>
                    </a:lnTo>
                    <a:lnTo>
                      <a:pt x="6" y="472"/>
                    </a:lnTo>
                    <a:lnTo>
                      <a:pt x="22" y="470"/>
                    </a:lnTo>
                    <a:lnTo>
                      <a:pt x="45" y="466"/>
                    </a:lnTo>
                    <a:lnTo>
                      <a:pt x="78" y="462"/>
                    </a:lnTo>
                    <a:lnTo>
                      <a:pt x="117" y="459"/>
                    </a:lnTo>
                    <a:lnTo>
                      <a:pt x="163" y="457"/>
                    </a:lnTo>
                    <a:lnTo>
                      <a:pt x="216" y="456"/>
                    </a:lnTo>
                    <a:lnTo>
                      <a:pt x="272" y="457"/>
                    </a:lnTo>
                    <a:lnTo>
                      <a:pt x="332" y="463"/>
                    </a:lnTo>
                    <a:lnTo>
                      <a:pt x="397" y="472"/>
                    </a:lnTo>
                    <a:lnTo>
                      <a:pt x="463" y="484"/>
                    </a:lnTo>
                    <a:lnTo>
                      <a:pt x="530" y="503"/>
                    </a:lnTo>
                    <a:lnTo>
                      <a:pt x="598" y="527"/>
                    </a:lnTo>
                    <a:lnTo>
                      <a:pt x="666" y="558"/>
                    </a:lnTo>
                    <a:lnTo>
                      <a:pt x="733" y="595"/>
                    </a:lnTo>
                    <a:lnTo>
                      <a:pt x="798" y="641"/>
                    </a:lnTo>
                    <a:lnTo>
                      <a:pt x="800" y="640"/>
                    </a:lnTo>
                    <a:lnTo>
                      <a:pt x="803" y="637"/>
                    </a:lnTo>
                    <a:lnTo>
                      <a:pt x="808" y="634"/>
                    </a:lnTo>
                    <a:lnTo>
                      <a:pt x="817" y="629"/>
                    </a:lnTo>
                    <a:lnTo>
                      <a:pt x="828" y="625"/>
                    </a:lnTo>
                    <a:lnTo>
                      <a:pt x="844" y="619"/>
                    </a:lnTo>
                    <a:lnTo>
                      <a:pt x="865" y="613"/>
                    </a:lnTo>
                    <a:lnTo>
                      <a:pt x="890" y="607"/>
                    </a:lnTo>
                    <a:lnTo>
                      <a:pt x="920" y="600"/>
                    </a:lnTo>
                    <a:lnTo>
                      <a:pt x="957" y="592"/>
                    </a:lnTo>
                    <a:lnTo>
                      <a:pt x="999" y="583"/>
                    </a:lnTo>
                    <a:lnTo>
                      <a:pt x="1050" y="576"/>
                    </a:lnTo>
                    <a:lnTo>
                      <a:pt x="1108" y="567"/>
                    </a:lnTo>
                    <a:lnTo>
                      <a:pt x="1174" y="558"/>
                    </a:lnTo>
                    <a:lnTo>
                      <a:pt x="1249" y="549"/>
                    </a:lnTo>
                    <a:lnTo>
                      <a:pt x="1334" y="542"/>
                    </a:lnTo>
                    <a:lnTo>
                      <a:pt x="1419" y="540"/>
                    </a:lnTo>
                    <a:lnTo>
                      <a:pt x="1500" y="543"/>
                    </a:lnTo>
                    <a:lnTo>
                      <a:pt x="1579" y="549"/>
                    </a:lnTo>
                    <a:lnTo>
                      <a:pt x="1657" y="560"/>
                    </a:lnTo>
                    <a:lnTo>
                      <a:pt x="1731" y="571"/>
                    </a:lnTo>
                    <a:lnTo>
                      <a:pt x="1803" y="586"/>
                    </a:lnTo>
                    <a:lnTo>
                      <a:pt x="1870" y="603"/>
                    </a:lnTo>
                    <a:lnTo>
                      <a:pt x="1934" y="619"/>
                    </a:lnTo>
                    <a:lnTo>
                      <a:pt x="1996" y="637"/>
                    </a:lnTo>
                    <a:lnTo>
                      <a:pt x="2052" y="655"/>
                    </a:lnTo>
                    <a:lnTo>
                      <a:pt x="2103" y="672"/>
                    </a:lnTo>
                    <a:lnTo>
                      <a:pt x="2151" y="687"/>
                    </a:lnTo>
                    <a:lnTo>
                      <a:pt x="2193" y="702"/>
                    </a:lnTo>
                    <a:lnTo>
                      <a:pt x="2232" y="714"/>
                    </a:lnTo>
                    <a:lnTo>
                      <a:pt x="2264" y="723"/>
                    </a:lnTo>
                    <a:lnTo>
                      <a:pt x="2269" y="723"/>
                    </a:lnTo>
                    <a:lnTo>
                      <a:pt x="2285" y="721"/>
                    </a:lnTo>
                    <a:lnTo>
                      <a:pt x="2311" y="720"/>
                    </a:lnTo>
                    <a:lnTo>
                      <a:pt x="2345" y="719"/>
                    </a:lnTo>
                    <a:lnTo>
                      <a:pt x="2385" y="717"/>
                    </a:lnTo>
                    <a:lnTo>
                      <a:pt x="2431" y="717"/>
                    </a:lnTo>
                    <a:lnTo>
                      <a:pt x="2482" y="716"/>
                    </a:lnTo>
                    <a:lnTo>
                      <a:pt x="2537" y="716"/>
                    </a:lnTo>
                    <a:lnTo>
                      <a:pt x="2594" y="716"/>
                    </a:lnTo>
                    <a:lnTo>
                      <a:pt x="2652" y="717"/>
                    </a:lnTo>
                    <a:lnTo>
                      <a:pt x="2708" y="720"/>
                    </a:lnTo>
                    <a:lnTo>
                      <a:pt x="2765" y="723"/>
                    </a:lnTo>
                    <a:lnTo>
                      <a:pt x="2819" y="727"/>
                    </a:lnTo>
                    <a:lnTo>
                      <a:pt x="2871" y="735"/>
                    </a:lnTo>
                    <a:lnTo>
                      <a:pt x="2915" y="744"/>
                    </a:lnTo>
                    <a:lnTo>
                      <a:pt x="2955" y="754"/>
                    </a:lnTo>
                    <a:lnTo>
                      <a:pt x="2991" y="765"/>
                    </a:lnTo>
                    <a:lnTo>
                      <a:pt x="3028" y="775"/>
                    </a:lnTo>
                    <a:lnTo>
                      <a:pt x="3063" y="784"/>
                    </a:lnTo>
                    <a:lnTo>
                      <a:pt x="3096" y="791"/>
                    </a:lnTo>
                    <a:lnTo>
                      <a:pt x="3132" y="797"/>
                    </a:lnTo>
                    <a:lnTo>
                      <a:pt x="3167" y="803"/>
                    </a:lnTo>
                    <a:lnTo>
                      <a:pt x="3200" y="809"/>
                    </a:lnTo>
                    <a:lnTo>
                      <a:pt x="3236" y="812"/>
                    </a:lnTo>
                    <a:lnTo>
                      <a:pt x="3271" y="817"/>
                    </a:lnTo>
                    <a:lnTo>
                      <a:pt x="3304" y="820"/>
                    </a:lnTo>
                    <a:lnTo>
                      <a:pt x="3340" y="821"/>
                    </a:lnTo>
                    <a:lnTo>
                      <a:pt x="3377" y="822"/>
                    </a:lnTo>
                    <a:lnTo>
                      <a:pt x="3412" y="824"/>
                    </a:lnTo>
                    <a:lnTo>
                      <a:pt x="3449" y="825"/>
                    </a:lnTo>
                    <a:lnTo>
                      <a:pt x="3486" y="825"/>
                    </a:lnTo>
                    <a:lnTo>
                      <a:pt x="3525" y="825"/>
                    </a:lnTo>
                    <a:lnTo>
                      <a:pt x="3520" y="824"/>
                    </a:lnTo>
                    <a:lnTo>
                      <a:pt x="3506" y="820"/>
                    </a:lnTo>
                    <a:lnTo>
                      <a:pt x="3481" y="812"/>
                    </a:lnTo>
                    <a:lnTo>
                      <a:pt x="3451" y="803"/>
                    </a:lnTo>
                    <a:lnTo>
                      <a:pt x="3414" y="790"/>
                    </a:lnTo>
                    <a:lnTo>
                      <a:pt x="3372" y="776"/>
                    </a:lnTo>
                    <a:lnTo>
                      <a:pt x="3326" y="760"/>
                    </a:lnTo>
                    <a:lnTo>
                      <a:pt x="3278" y="742"/>
                    </a:lnTo>
                    <a:lnTo>
                      <a:pt x="3229" y="723"/>
                    </a:lnTo>
                    <a:lnTo>
                      <a:pt x="3177" y="702"/>
                    </a:lnTo>
                    <a:lnTo>
                      <a:pt x="3128" y="680"/>
                    </a:lnTo>
                    <a:lnTo>
                      <a:pt x="3080" y="658"/>
                    </a:lnTo>
                    <a:lnTo>
                      <a:pt x="3035" y="634"/>
                    </a:lnTo>
                    <a:lnTo>
                      <a:pt x="2994" y="609"/>
                    </a:lnTo>
                    <a:lnTo>
                      <a:pt x="2959" y="585"/>
                    </a:lnTo>
                    <a:lnTo>
                      <a:pt x="2931" y="560"/>
                    </a:lnTo>
                    <a:lnTo>
                      <a:pt x="2622" y="473"/>
                    </a:lnTo>
                    <a:lnTo>
                      <a:pt x="2352" y="521"/>
                    </a:lnTo>
                    <a:lnTo>
                      <a:pt x="2206" y="456"/>
                    </a:lnTo>
                    <a:lnTo>
                      <a:pt x="2094" y="386"/>
                    </a:lnTo>
                    <a:lnTo>
                      <a:pt x="1803" y="356"/>
                    </a:lnTo>
                    <a:lnTo>
                      <a:pt x="1574" y="162"/>
                    </a:lnTo>
                    <a:lnTo>
                      <a:pt x="1401" y="264"/>
                    </a:lnTo>
                    <a:lnTo>
                      <a:pt x="1256" y="208"/>
                    </a:lnTo>
                    <a:lnTo>
                      <a:pt x="1017" y="208"/>
                    </a:lnTo>
                    <a:lnTo>
                      <a:pt x="932" y="248"/>
                    </a:lnTo>
                    <a:lnTo>
                      <a:pt x="920" y="197"/>
                    </a:lnTo>
                    <a:lnTo>
                      <a:pt x="886" y="126"/>
                    </a:lnTo>
                    <a:lnTo>
                      <a:pt x="898" y="75"/>
                    </a:lnTo>
                    <a:lnTo>
                      <a:pt x="830" y="59"/>
                    </a:lnTo>
                    <a:lnTo>
                      <a:pt x="835" y="69"/>
                    </a:lnTo>
                    <a:close/>
                  </a:path>
                </a:pathLst>
              </a:custGeom>
              <a:solidFill>
                <a:srgbClr val="0099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9" name="Freeform 229"/>
              <p:cNvSpPr>
                <a:spLocks/>
              </p:cNvSpPr>
              <p:nvPr/>
            </p:nvSpPr>
            <p:spPr bwMode="auto">
              <a:xfrm>
                <a:off x="4715" y="3575"/>
                <a:ext cx="594" cy="180"/>
              </a:xfrm>
              <a:custGeom>
                <a:avLst/>
                <a:gdLst>
                  <a:gd name="T0" fmla="*/ 95 w 1189"/>
                  <a:gd name="T1" fmla="*/ 137 h 361"/>
                  <a:gd name="T2" fmla="*/ 273 w 1189"/>
                  <a:gd name="T3" fmla="*/ 128 h 361"/>
                  <a:gd name="T4" fmla="*/ 478 w 1189"/>
                  <a:gd name="T5" fmla="*/ 212 h 361"/>
                  <a:gd name="T6" fmla="*/ 522 w 1189"/>
                  <a:gd name="T7" fmla="*/ 255 h 361"/>
                  <a:gd name="T8" fmla="*/ 788 w 1189"/>
                  <a:gd name="T9" fmla="*/ 336 h 361"/>
                  <a:gd name="T10" fmla="*/ 864 w 1189"/>
                  <a:gd name="T11" fmla="*/ 348 h 361"/>
                  <a:gd name="T12" fmla="*/ 938 w 1189"/>
                  <a:gd name="T13" fmla="*/ 356 h 361"/>
                  <a:gd name="T14" fmla="*/ 1011 w 1189"/>
                  <a:gd name="T15" fmla="*/ 359 h 361"/>
                  <a:gd name="T16" fmla="*/ 1074 w 1189"/>
                  <a:gd name="T17" fmla="*/ 361 h 361"/>
                  <a:gd name="T18" fmla="*/ 1127 w 1189"/>
                  <a:gd name="T19" fmla="*/ 359 h 361"/>
                  <a:gd name="T20" fmla="*/ 1166 w 1189"/>
                  <a:gd name="T21" fmla="*/ 358 h 361"/>
                  <a:gd name="T22" fmla="*/ 1185 w 1189"/>
                  <a:gd name="T23" fmla="*/ 356 h 361"/>
                  <a:gd name="T24" fmla="*/ 1160 w 1189"/>
                  <a:gd name="T25" fmla="*/ 355 h 361"/>
                  <a:gd name="T26" fmla="*/ 1116 w 1189"/>
                  <a:gd name="T27" fmla="*/ 354 h 361"/>
                  <a:gd name="T28" fmla="*/ 1083 w 1189"/>
                  <a:gd name="T29" fmla="*/ 354 h 361"/>
                  <a:gd name="T30" fmla="*/ 1055 w 1189"/>
                  <a:gd name="T31" fmla="*/ 354 h 361"/>
                  <a:gd name="T32" fmla="*/ 1028 w 1189"/>
                  <a:gd name="T33" fmla="*/ 349 h 361"/>
                  <a:gd name="T34" fmla="*/ 998 w 1189"/>
                  <a:gd name="T35" fmla="*/ 340 h 361"/>
                  <a:gd name="T36" fmla="*/ 963 w 1189"/>
                  <a:gd name="T37" fmla="*/ 325 h 361"/>
                  <a:gd name="T38" fmla="*/ 915 w 1189"/>
                  <a:gd name="T39" fmla="*/ 302 h 361"/>
                  <a:gd name="T40" fmla="*/ 855 w 1189"/>
                  <a:gd name="T41" fmla="*/ 269 h 361"/>
                  <a:gd name="T42" fmla="*/ 802 w 1189"/>
                  <a:gd name="T43" fmla="*/ 247 h 361"/>
                  <a:gd name="T44" fmla="*/ 758 w 1189"/>
                  <a:gd name="T45" fmla="*/ 233 h 361"/>
                  <a:gd name="T46" fmla="*/ 719 w 1189"/>
                  <a:gd name="T47" fmla="*/ 226 h 361"/>
                  <a:gd name="T48" fmla="*/ 684 w 1189"/>
                  <a:gd name="T49" fmla="*/ 223 h 361"/>
                  <a:gd name="T50" fmla="*/ 649 w 1189"/>
                  <a:gd name="T51" fmla="*/ 218 h 361"/>
                  <a:gd name="T52" fmla="*/ 612 w 1189"/>
                  <a:gd name="T53" fmla="*/ 212 h 361"/>
                  <a:gd name="T54" fmla="*/ 570 w 1189"/>
                  <a:gd name="T55" fmla="*/ 202 h 361"/>
                  <a:gd name="T56" fmla="*/ 495 w 1189"/>
                  <a:gd name="T57" fmla="*/ 171 h 361"/>
                  <a:gd name="T58" fmla="*/ 405 w 1189"/>
                  <a:gd name="T59" fmla="*/ 110 h 361"/>
                  <a:gd name="T60" fmla="*/ 337 w 1189"/>
                  <a:gd name="T61" fmla="*/ 48 h 361"/>
                  <a:gd name="T62" fmla="*/ 296 w 1189"/>
                  <a:gd name="T63" fmla="*/ 6 h 361"/>
                  <a:gd name="T64" fmla="*/ 0 w 1189"/>
                  <a:gd name="T65" fmla="*/ 92 h 36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89"/>
                  <a:gd name="T100" fmla="*/ 0 h 361"/>
                  <a:gd name="T101" fmla="*/ 1189 w 1189"/>
                  <a:gd name="T102" fmla="*/ 361 h 36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89" h="361">
                    <a:moveTo>
                      <a:pt x="0" y="92"/>
                    </a:moveTo>
                    <a:lnTo>
                      <a:pt x="95" y="137"/>
                    </a:lnTo>
                    <a:lnTo>
                      <a:pt x="204" y="110"/>
                    </a:lnTo>
                    <a:lnTo>
                      <a:pt x="273" y="128"/>
                    </a:lnTo>
                    <a:lnTo>
                      <a:pt x="293" y="73"/>
                    </a:lnTo>
                    <a:lnTo>
                      <a:pt x="478" y="212"/>
                    </a:lnTo>
                    <a:lnTo>
                      <a:pt x="330" y="195"/>
                    </a:lnTo>
                    <a:lnTo>
                      <a:pt x="522" y="255"/>
                    </a:lnTo>
                    <a:lnTo>
                      <a:pt x="751" y="327"/>
                    </a:lnTo>
                    <a:lnTo>
                      <a:pt x="788" y="336"/>
                    </a:lnTo>
                    <a:lnTo>
                      <a:pt x="825" y="343"/>
                    </a:lnTo>
                    <a:lnTo>
                      <a:pt x="864" y="348"/>
                    </a:lnTo>
                    <a:lnTo>
                      <a:pt x="901" y="352"/>
                    </a:lnTo>
                    <a:lnTo>
                      <a:pt x="938" y="356"/>
                    </a:lnTo>
                    <a:lnTo>
                      <a:pt x="975" y="358"/>
                    </a:lnTo>
                    <a:lnTo>
                      <a:pt x="1011" y="359"/>
                    </a:lnTo>
                    <a:lnTo>
                      <a:pt x="1042" y="361"/>
                    </a:lnTo>
                    <a:lnTo>
                      <a:pt x="1074" y="361"/>
                    </a:lnTo>
                    <a:lnTo>
                      <a:pt x="1102" y="361"/>
                    </a:lnTo>
                    <a:lnTo>
                      <a:pt x="1127" y="359"/>
                    </a:lnTo>
                    <a:lnTo>
                      <a:pt x="1148" y="359"/>
                    </a:lnTo>
                    <a:lnTo>
                      <a:pt x="1166" y="358"/>
                    </a:lnTo>
                    <a:lnTo>
                      <a:pt x="1178" y="358"/>
                    </a:lnTo>
                    <a:lnTo>
                      <a:pt x="1185" y="356"/>
                    </a:lnTo>
                    <a:lnTo>
                      <a:pt x="1189" y="356"/>
                    </a:lnTo>
                    <a:lnTo>
                      <a:pt x="1160" y="355"/>
                    </a:lnTo>
                    <a:lnTo>
                      <a:pt x="1138" y="354"/>
                    </a:lnTo>
                    <a:lnTo>
                      <a:pt x="1116" y="354"/>
                    </a:lnTo>
                    <a:lnTo>
                      <a:pt x="1099" y="354"/>
                    </a:lnTo>
                    <a:lnTo>
                      <a:pt x="1083" y="354"/>
                    </a:lnTo>
                    <a:lnTo>
                      <a:pt x="1067" y="354"/>
                    </a:lnTo>
                    <a:lnTo>
                      <a:pt x="1055" y="354"/>
                    </a:lnTo>
                    <a:lnTo>
                      <a:pt x="1040" y="352"/>
                    </a:lnTo>
                    <a:lnTo>
                      <a:pt x="1028" y="349"/>
                    </a:lnTo>
                    <a:lnTo>
                      <a:pt x="1014" y="346"/>
                    </a:lnTo>
                    <a:lnTo>
                      <a:pt x="998" y="340"/>
                    </a:lnTo>
                    <a:lnTo>
                      <a:pt x="982" y="334"/>
                    </a:lnTo>
                    <a:lnTo>
                      <a:pt x="963" y="325"/>
                    </a:lnTo>
                    <a:lnTo>
                      <a:pt x="940" y="315"/>
                    </a:lnTo>
                    <a:lnTo>
                      <a:pt x="915" y="302"/>
                    </a:lnTo>
                    <a:lnTo>
                      <a:pt x="885" y="285"/>
                    </a:lnTo>
                    <a:lnTo>
                      <a:pt x="855" y="269"/>
                    </a:lnTo>
                    <a:lnTo>
                      <a:pt x="827" y="257"/>
                    </a:lnTo>
                    <a:lnTo>
                      <a:pt x="802" y="247"/>
                    </a:lnTo>
                    <a:lnTo>
                      <a:pt x="779" y="239"/>
                    </a:lnTo>
                    <a:lnTo>
                      <a:pt x="758" y="233"/>
                    </a:lnTo>
                    <a:lnTo>
                      <a:pt x="739" y="229"/>
                    </a:lnTo>
                    <a:lnTo>
                      <a:pt x="719" y="226"/>
                    </a:lnTo>
                    <a:lnTo>
                      <a:pt x="702" y="224"/>
                    </a:lnTo>
                    <a:lnTo>
                      <a:pt x="684" y="223"/>
                    </a:lnTo>
                    <a:lnTo>
                      <a:pt x="667" y="221"/>
                    </a:lnTo>
                    <a:lnTo>
                      <a:pt x="649" y="218"/>
                    </a:lnTo>
                    <a:lnTo>
                      <a:pt x="631" y="217"/>
                    </a:lnTo>
                    <a:lnTo>
                      <a:pt x="612" y="212"/>
                    </a:lnTo>
                    <a:lnTo>
                      <a:pt x="591" y="208"/>
                    </a:lnTo>
                    <a:lnTo>
                      <a:pt x="570" y="202"/>
                    </a:lnTo>
                    <a:lnTo>
                      <a:pt x="545" y="193"/>
                    </a:lnTo>
                    <a:lnTo>
                      <a:pt x="495" y="171"/>
                    </a:lnTo>
                    <a:lnTo>
                      <a:pt x="450" y="141"/>
                    </a:lnTo>
                    <a:lnTo>
                      <a:pt x="405" y="110"/>
                    </a:lnTo>
                    <a:lnTo>
                      <a:pt x="368" y="77"/>
                    </a:lnTo>
                    <a:lnTo>
                      <a:pt x="337" y="48"/>
                    </a:lnTo>
                    <a:lnTo>
                      <a:pt x="312" y="24"/>
                    </a:lnTo>
                    <a:lnTo>
                      <a:pt x="296" y="6"/>
                    </a:lnTo>
                    <a:lnTo>
                      <a:pt x="291" y="0"/>
                    </a:lnTo>
                    <a:lnTo>
                      <a:pt x="0" y="9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0" name="Freeform 230"/>
              <p:cNvSpPr>
                <a:spLocks/>
              </p:cNvSpPr>
              <p:nvPr/>
            </p:nvSpPr>
            <p:spPr bwMode="auto">
              <a:xfrm>
                <a:off x="3600" y="3320"/>
                <a:ext cx="1236" cy="398"/>
              </a:xfrm>
              <a:custGeom>
                <a:avLst/>
                <a:gdLst>
                  <a:gd name="T0" fmla="*/ 2314 w 2471"/>
                  <a:gd name="T1" fmla="*/ 794 h 794"/>
                  <a:gd name="T2" fmla="*/ 2221 w 2471"/>
                  <a:gd name="T3" fmla="*/ 666 h 794"/>
                  <a:gd name="T4" fmla="*/ 2142 w 2471"/>
                  <a:gd name="T5" fmla="*/ 675 h 794"/>
                  <a:gd name="T6" fmla="*/ 2027 w 2471"/>
                  <a:gd name="T7" fmla="*/ 674 h 794"/>
                  <a:gd name="T8" fmla="*/ 1907 w 2471"/>
                  <a:gd name="T9" fmla="*/ 644 h 794"/>
                  <a:gd name="T10" fmla="*/ 1794 w 2471"/>
                  <a:gd name="T11" fmla="*/ 546 h 794"/>
                  <a:gd name="T12" fmla="*/ 1716 w 2471"/>
                  <a:gd name="T13" fmla="*/ 473 h 794"/>
                  <a:gd name="T14" fmla="*/ 1632 w 2471"/>
                  <a:gd name="T15" fmla="*/ 494 h 794"/>
                  <a:gd name="T16" fmla="*/ 1540 w 2471"/>
                  <a:gd name="T17" fmla="*/ 560 h 794"/>
                  <a:gd name="T18" fmla="*/ 1475 w 2471"/>
                  <a:gd name="T19" fmla="*/ 537 h 794"/>
                  <a:gd name="T20" fmla="*/ 1346 w 2471"/>
                  <a:gd name="T21" fmla="*/ 472 h 794"/>
                  <a:gd name="T22" fmla="*/ 1217 w 2471"/>
                  <a:gd name="T23" fmla="*/ 467 h 794"/>
                  <a:gd name="T24" fmla="*/ 1155 w 2471"/>
                  <a:gd name="T25" fmla="*/ 467 h 794"/>
                  <a:gd name="T26" fmla="*/ 1113 w 2471"/>
                  <a:gd name="T27" fmla="*/ 484 h 794"/>
                  <a:gd name="T28" fmla="*/ 998 w 2471"/>
                  <a:gd name="T29" fmla="*/ 548 h 794"/>
                  <a:gd name="T30" fmla="*/ 1007 w 2471"/>
                  <a:gd name="T31" fmla="*/ 325 h 794"/>
                  <a:gd name="T32" fmla="*/ 995 w 2471"/>
                  <a:gd name="T33" fmla="*/ 265 h 794"/>
                  <a:gd name="T34" fmla="*/ 1189 w 2471"/>
                  <a:gd name="T35" fmla="*/ 427 h 794"/>
                  <a:gd name="T36" fmla="*/ 1455 w 2471"/>
                  <a:gd name="T37" fmla="*/ 295 h 794"/>
                  <a:gd name="T38" fmla="*/ 1037 w 2471"/>
                  <a:gd name="T39" fmla="*/ 197 h 794"/>
                  <a:gd name="T40" fmla="*/ 944 w 2471"/>
                  <a:gd name="T41" fmla="*/ 243 h 794"/>
                  <a:gd name="T42" fmla="*/ 861 w 2471"/>
                  <a:gd name="T43" fmla="*/ 328 h 794"/>
                  <a:gd name="T44" fmla="*/ 803 w 2471"/>
                  <a:gd name="T45" fmla="*/ 430 h 794"/>
                  <a:gd name="T46" fmla="*/ 665 w 2471"/>
                  <a:gd name="T47" fmla="*/ 508 h 794"/>
                  <a:gd name="T48" fmla="*/ 573 w 2471"/>
                  <a:gd name="T49" fmla="*/ 549 h 794"/>
                  <a:gd name="T50" fmla="*/ 492 w 2471"/>
                  <a:gd name="T51" fmla="*/ 591 h 794"/>
                  <a:gd name="T52" fmla="*/ 400 w 2471"/>
                  <a:gd name="T53" fmla="*/ 632 h 794"/>
                  <a:gd name="T54" fmla="*/ 288 w 2471"/>
                  <a:gd name="T55" fmla="*/ 671 h 794"/>
                  <a:gd name="T56" fmla="*/ 219 w 2471"/>
                  <a:gd name="T57" fmla="*/ 701 h 794"/>
                  <a:gd name="T58" fmla="*/ 178 w 2471"/>
                  <a:gd name="T59" fmla="*/ 723 h 794"/>
                  <a:gd name="T60" fmla="*/ 109 w 2471"/>
                  <a:gd name="T61" fmla="*/ 736 h 794"/>
                  <a:gd name="T62" fmla="*/ 2 w 2471"/>
                  <a:gd name="T63" fmla="*/ 744 h 794"/>
                  <a:gd name="T64" fmla="*/ 34 w 2471"/>
                  <a:gd name="T65" fmla="*/ 736 h 794"/>
                  <a:gd name="T66" fmla="*/ 102 w 2471"/>
                  <a:gd name="T67" fmla="*/ 713 h 794"/>
                  <a:gd name="T68" fmla="*/ 201 w 2471"/>
                  <a:gd name="T69" fmla="*/ 669 h 794"/>
                  <a:gd name="T70" fmla="*/ 323 w 2471"/>
                  <a:gd name="T71" fmla="*/ 601 h 794"/>
                  <a:gd name="T72" fmla="*/ 462 w 2471"/>
                  <a:gd name="T73" fmla="*/ 524 h 794"/>
                  <a:gd name="T74" fmla="*/ 605 w 2471"/>
                  <a:gd name="T75" fmla="*/ 444 h 794"/>
                  <a:gd name="T76" fmla="*/ 734 w 2471"/>
                  <a:gd name="T77" fmla="*/ 356 h 794"/>
                  <a:gd name="T78" fmla="*/ 831 w 2471"/>
                  <a:gd name="T79" fmla="*/ 267 h 794"/>
                  <a:gd name="T80" fmla="*/ 901 w 2471"/>
                  <a:gd name="T81" fmla="*/ 208 h 794"/>
                  <a:gd name="T82" fmla="*/ 977 w 2471"/>
                  <a:gd name="T83" fmla="*/ 161 h 794"/>
                  <a:gd name="T84" fmla="*/ 1055 w 2471"/>
                  <a:gd name="T85" fmla="*/ 118 h 794"/>
                  <a:gd name="T86" fmla="*/ 1201 w 2471"/>
                  <a:gd name="T87" fmla="*/ 0 h 794"/>
                  <a:gd name="T88" fmla="*/ 1233 w 2471"/>
                  <a:gd name="T89" fmla="*/ 14 h 794"/>
                  <a:gd name="T90" fmla="*/ 1309 w 2471"/>
                  <a:gd name="T91" fmla="*/ 92 h 794"/>
                  <a:gd name="T92" fmla="*/ 1431 w 2471"/>
                  <a:gd name="T93" fmla="*/ 216 h 794"/>
                  <a:gd name="T94" fmla="*/ 1577 w 2471"/>
                  <a:gd name="T95" fmla="*/ 295 h 794"/>
                  <a:gd name="T96" fmla="*/ 1699 w 2471"/>
                  <a:gd name="T97" fmla="*/ 377 h 794"/>
                  <a:gd name="T98" fmla="*/ 1831 w 2471"/>
                  <a:gd name="T99" fmla="*/ 499 h 794"/>
                  <a:gd name="T100" fmla="*/ 1914 w 2471"/>
                  <a:gd name="T101" fmla="*/ 551 h 794"/>
                  <a:gd name="T102" fmla="*/ 2002 w 2471"/>
                  <a:gd name="T103" fmla="*/ 592 h 794"/>
                  <a:gd name="T104" fmla="*/ 2106 w 2471"/>
                  <a:gd name="T105" fmla="*/ 612 h 794"/>
                  <a:gd name="T106" fmla="*/ 2230 w 2471"/>
                  <a:gd name="T107" fmla="*/ 601 h 79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471"/>
                  <a:gd name="T163" fmla="*/ 0 h 794"/>
                  <a:gd name="T164" fmla="*/ 2471 w 2471"/>
                  <a:gd name="T165" fmla="*/ 794 h 79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471" h="794">
                    <a:moveTo>
                      <a:pt x="2339" y="652"/>
                    </a:moveTo>
                    <a:lnTo>
                      <a:pt x="2374" y="723"/>
                    </a:lnTo>
                    <a:lnTo>
                      <a:pt x="2471" y="692"/>
                    </a:lnTo>
                    <a:lnTo>
                      <a:pt x="2314" y="794"/>
                    </a:lnTo>
                    <a:lnTo>
                      <a:pt x="2242" y="662"/>
                    </a:lnTo>
                    <a:lnTo>
                      <a:pt x="2240" y="662"/>
                    </a:lnTo>
                    <a:lnTo>
                      <a:pt x="2233" y="663"/>
                    </a:lnTo>
                    <a:lnTo>
                      <a:pt x="2221" y="666"/>
                    </a:lnTo>
                    <a:lnTo>
                      <a:pt x="2205" y="668"/>
                    </a:lnTo>
                    <a:lnTo>
                      <a:pt x="2187" y="671"/>
                    </a:lnTo>
                    <a:lnTo>
                      <a:pt x="2164" y="674"/>
                    </a:lnTo>
                    <a:lnTo>
                      <a:pt x="2142" y="675"/>
                    </a:lnTo>
                    <a:lnTo>
                      <a:pt x="2115" y="677"/>
                    </a:lnTo>
                    <a:lnTo>
                      <a:pt x="2087" y="677"/>
                    </a:lnTo>
                    <a:lnTo>
                      <a:pt x="2057" y="677"/>
                    </a:lnTo>
                    <a:lnTo>
                      <a:pt x="2027" y="674"/>
                    </a:lnTo>
                    <a:lnTo>
                      <a:pt x="1997" y="669"/>
                    </a:lnTo>
                    <a:lnTo>
                      <a:pt x="1965" y="663"/>
                    </a:lnTo>
                    <a:lnTo>
                      <a:pt x="1935" y="656"/>
                    </a:lnTo>
                    <a:lnTo>
                      <a:pt x="1907" y="644"/>
                    </a:lnTo>
                    <a:lnTo>
                      <a:pt x="1879" y="631"/>
                    </a:lnTo>
                    <a:lnTo>
                      <a:pt x="1835" y="601"/>
                    </a:lnTo>
                    <a:lnTo>
                      <a:pt x="1810" y="573"/>
                    </a:lnTo>
                    <a:lnTo>
                      <a:pt x="1794" y="546"/>
                    </a:lnTo>
                    <a:lnTo>
                      <a:pt x="1783" y="522"/>
                    </a:lnTo>
                    <a:lnTo>
                      <a:pt x="1773" y="502"/>
                    </a:lnTo>
                    <a:lnTo>
                      <a:pt x="1752" y="485"/>
                    </a:lnTo>
                    <a:lnTo>
                      <a:pt x="1716" y="473"/>
                    </a:lnTo>
                    <a:lnTo>
                      <a:pt x="1662" y="467"/>
                    </a:lnTo>
                    <a:lnTo>
                      <a:pt x="1658" y="470"/>
                    </a:lnTo>
                    <a:lnTo>
                      <a:pt x="1648" y="481"/>
                    </a:lnTo>
                    <a:lnTo>
                      <a:pt x="1632" y="494"/>
                    </a:lnTo>
                    <a:lnTo>
                      <a:pt x="1612" y="511"/>
                    </a:lnTo>
                    <a:lnTo>
                      <a:pt x="1589" y="528"/>
                    </a:lnTo>
                    <a:lnTo>
                      <a:pt x="1565" y="545"/>
                    </a:lnTo>
                    <a:lnTo>
                      <a:pt x="1540" y="560"/>
                    </a:lnTo>
                    <a:lnTo>
                      <a:pt x="1515" y="570"/>
                    </a:lnTo>
                    <a:lnTo>
                      <a:pt x="1510" y="565"/>
                    </a:lnTo>
                    <a:lnTo>
                      <a:pt x="1496" y="554"/>
                    </a:lnTo>
                    <a:lnTo>
                      <a:pt x="1475" y="537"/>
                    </a:lnTo>
                    <a:lnTo>
                      <a:pt x="1448" y="518"/>
                    </a:lnTo>
                    <a:lnTo>
                      <a:pt x="1417" y="500"/>
                    </a:lnTo>
                    <a:lnTo>
                      <a:pt x="1381" y="484"/>
                    </a:lnTo>
                    <a:lnTo>
                      <a:pt x="1346" y="472"/>
                    </a:lnTo>
                    <a:lnTo>
                      <a:pt x="1309" y="467"/>
                    </a:lnTo>
                    <a:lnTo>
                      <a:pt x="1274" y="467"/>
                    </a:lnTo>
                    <a:lnTo>
                      <a:pt x="1244" y="467"/>
                    </a:lnTo>
                    <a:lnTo>
                      <a:pt x="1217" y="467"/>
                    </a:lnTo>
                    <a:lnTo>
                      <a:pt x="1194" y="467"/>
                    </a:lnTo>
                    <a:lnTo>
                      <a:pt x="1177" y="467"/>
                    </a:lnTo>
                    <a:lnTo>
                      <a:pt x="1162" y="467"/>
                    </a:lnTo>
                    <a:lnTo>
                      <a:pt x="1155" y="467"/>
                    </a:lnTo>
                    <a:lnTo>
                      <a:pt x="1152" y="467"/>
                    </a:lnTo>
                    <a:lnTo>
                      <a:pt x="1147" y="469"/>
                    </a:lnTo>
                    <a:lnTo>
                      <a:pt x="1134" y="475"/>
                    </a:lnTo>
                    <a:lnTo>
                      <a:pt x="1113" y="484"/>
                    </a:lnTo>
                    <a:lnTo>
                      <a:pt x="1088" y="496"/>
                    </a:lnTo>
                    <a:lnTo>
                      <a:pt x="1060" y="511"/>
                    </a:lnTo>
                    <a:lnTo>
                      <a:pt x="1028" y="528"/>
                    </a:lnTo>
                    <a:lnTo>
                      <a:pt x="998" y="548"/>
                    </a:lnTo>
                    <a:lnTo>
                      <a:pt x="970" y="570"/>
                    </a:lnTo>
                    <a:lnTo>
                      <a:pt x="1030" y="447"/>
                    </a:lnTo>
                    <a:lnTo>
                      <a:pt x="970" y="407"/>
                    </a:lnTo>
                    <a:lnTo>
                      <a:pt x="1007" y="325"/>
                    </a:lnTo>
                    <a:lnTo>
                      <a:pt x="886" y="447"/>
                    </a:lnTo>
                    <a:lnTo>
                      <a:pt x="910" y="335"/>
                    </a:lnTo>
                    <a:lnTo>
                      <a:pt x="946" y="285"/>
                    </a:lnTo>
                    <a:lnTo>
                      <a:pt x="995" y="265"/>
                    </a:lnTo>
                    <a:lnTo>
                      <a:pt x="1043" y="325"/>
                    </a:lnTo>
                    <a:lnTo>
                      <a:pt x="1030" y="365"/>
                    </a:lnTo>
                    <a:lnTo>
                      <a:pt x="1067" y="467"/>
                    </a:lnTo>
                    <a:lnTo>
                      <a:pt x="1189" y="427"/>
                    </a:lnTo>
                    <a:lnTo>
                      <a:pt x="1371" y="427"/>
                    </a:lnTo>
                    <a:lnTo>
                      <a:pt x="1503" y="488"/>
                    </a:lnTo>
                    <a:lnTo>
                      <a:pt x="1637" y="407"/>
                    </a:lnTo>
                    <a:lnTo>
                      <a:pt x="1455" y="295"/>
                    </a:lnTo>
                    <a:lnTo>
                      <a:pt x="1309" y="184"/>
                    </a:lnTo>
                    <a:lnTo>
                      <a:pt x="1212" y="81"/>
                    </a:lnTo>
                    <a:lnTo>
                      <a:pt x="1043" y="194"/>
                    </a:lnTo>
                    <a:lnTo>
                      <a:pt x="1037" y="197"/>
                    </a:lnTo>
                    <a:lnTo>
                      <a:pt x="1021" y="203"/>
                    </a:lnTo>
                    <a:lnTo>
                      <a:pt x="998" y="213"/>
                    </a:lnTo>
                    <a:lnTo>
                      <a:pt x="972" y="227"/>
                    </a:lnTo>
                    <a:lnTo>
                      <a:pt x="944" y="243"/>
                    </a:lnTo>
                    <a:lnTo>
                      <a:pt x="916" y="262"/>
                    </a:lnTo>
                    <a:lnTo>
                      <a:pt x="891" y="282"/>
                    </a:lnTo>
                    <a:lnTo>
                      <a:pt x="873" y="304"/>
                    </a:lnTo>
                    <a:lnTo>
                      <a:pt x="861" y="328"/>
                    </a:lnTo>
                    <a:lnTo>
                      <a:pt x="850" y="353"/>
                    </a:lnTo>
                    <a:lnTo>
                      <a:pt x="838" y="378"/>
                    </a:lnTo>
                    <a:lnTo>
                      <a:pt x="822" y="405"/>
                    </a:lnTo>
                    <a:lnTo>
                      <a:pt x="803" y="430"/>
                    </a:lnTo>
                    <a:lnTo>
                      <a:pt x="776" y="456"/>
                    </a:lnTo>
                    <a:lnTo>
                      <a:pt x="739" y="478"/>
                    </a:lnTo>
                    <a:lnTo>
                      <a:pt x="691" y="499"/>
                    </a:lnTo>
                    <a:lnTo>
                      <a:pt x="665" y="508"/>
                    </a:lnTo>
                    <a:lnTo>
                      <a:pt x="640" y="518"/>
                    </a:lnTo>
                    <a:lnTo>
                      <a:pt x="617" y="528"/>
                    </a:lnTo>
                    <a:lnTo>
                      <a:pt x="594" y="539"/>
                    </a:lnTo>
                    <a:lnTo>
                      <a:pt x="573" y="549"/>
                    </a:lnTo>
                    <a:lnTo>
                      <a:pt x="552" y="560"/>
                    </a:lnTo>
                    <a:lnTo>
                      <a:pt x="533" y="570"/>
                    </a:lnTo>
                    <a:lnTo>
                      <a:pt x="512" y="580"/>
                    </a:lnTo>
                    <a:lnTo>
                      <a:pt x="492" y="591"/>
                    </a:lnTo>
                    <a:lnTo>
                      <a:pt x="471" y="601"/>
                    </a:lnTo>
                    <a:lnTo>
                      <a:pt x="448" y="612"/>
                    </a:lnTo>
                    <a:lnTo>
                      <a:pt x="425" y="622"/>
                    </a:lnTo>
                    <a:lnTo>
                      <a:pt x="400" y="632"/>
                    </a:lnTo>
                    <a:lnTo>
                      <a:pt x="374" y="643"/>
                    </a:lnTo>
                    <a:lnTo>
                      <a:pt x="346" y="652"/>
                    </a:lnTo>
                    <a:lnTo>
                      <a:pt x="316" y="662"/>
                    </a:lnTo>
                    <a:lnTo>
                      <a:pt x="288" y="671"/>
                    </a:lnTo>
                    <a:lnTo>
                      <a:pt x="263" y="680"/>
                    </a:lnTo>
                    <a:lnTo>
                      <a:pt x="245" y="687"/>
                    </a:lnTo>
                    <a:lnTo>
                      <a:pt x="229" y="695"/>
                    </a:lnTo>
                    <a:lnTo>
                      <a:pt x="219" y="701"/>
                    </a:lnTo>
                    <a:lnTo>
                      <a:pt x="208" y="707"/>
                    </a:lnTo>
                    <a:lnTo>
                      <a:pt x="198" y="713"/>
                    </a:lnTo>
                    <a:lnTo>
                      <a:pt x="189" y="718"/>
                    </a:lnTo>
                    <a:lnTo>
                      <a:pt x="178" y="723"/>
                    </a:lnTo>
                    <a:lnTo>
                      <a:pt x="166" y="726"/>
                    </a:lnTo>
                    <a:lnTo>
                      <a:pt x="152" y="730"/>
                    </a:lnTo>
                    <a:lnTo>
                      <a:pt x="132" y="733"/>
                    </a:lnTo>
                    <a:lnTo>
                      <a:pt x="109" y="736"/>
                    </a:lnTo>
                    <a:lnTo>
                      <a:pt x="79" y="739"/>
                    </a:lnTo>
                    <a:lnTo>
                      <a:pt x="44" y="742"/>
                    </a:lnTo>
                    <a:lnTo>
                      <a:pt x="0" y="744"/>
                    </a:lnTo>
                    <a:lnTo>
                      <a:pt x="2" y="744"/>
                    </a:lnTo>
                    <a:lnTo>
                      <a:pt x="5" y="742"/>
                    </a:lnTo>
                    <a:lnTo>
                      <a:pt x="12" y="741"/>
                    </a:lnTo>
                    <a:lnTo>
                      <a:pt x="21" y="739"/>
                    </a:lnTo>
                    <a:lnTo>
                      <a:pt x="34" y="736"/>
                    </a:lnTo>
                    <a:lnTo>
                      <a:pt x="48" y="732"/>
                    </a:lnTo>
                    <a:lnTo>
                      <a:pt x="64" y="727"/>
                    </a:lnTo>
                    <a:lnTo>
                      <a:pt x="83" y="720"/>
                    </a:lnTo>
                    <a:lnTo>
                      <a:pt x="102" y="713"/>
                    </a:lnTo>
                    <a:lnTo>
                      <a:pt x="125" y="705"/>
                    </a:lnTo>
                    <a:lnTo>
                      <a:pt x="148" y="695"/>
                    </a:lnTo>
                    <a:lnTo>
                      <a:pt x="175" y="683"/>
                    </a:lnTo>
                    <a:lnTo>
                      <a:pt x="201" y="669"/>
                    </a:lnTo>
                    <a:lnTo>
                      <a:pt x="229" y="655"/>
                    </a:lnTo>
                    <a:lnTo>
                      <a:pt x="259" y="638"/>
                    </a:lnTo>
                    <a:lnTo>
                      <a:pt x="291" y="620"/>
                    </a:lnTo>
                    <a:lnTo>
                      <a:pt x="323" y="601"/>
                    </a:lnTo>
                    <a:lnTo>
                      <a:pt x="356" y="582"/>
                    </a:lnTo>
                    <a:lnTo>
                      <a:pt x="392" y="564"/>
                    </a:lnTo>
                    <a:lnTo>
                      <a:pt x="427" y="545"/>
                    </a:lnTo>
                    <a:lnTo>
                      <a:pt x="462" y="524"/>
                    </a:lnTo>
                    <a:lnTo>
                      <a:pt x="499" y="505"/>
                    </a:lnTo>
                    <a:lnTo>
                      <a:pt x="534" y="485"/>
                    </a:lnTo>
                    <a:lnTo>
                      <a:pt x="570" y="464"/>
                    </a:lnTo>
                    <a:lnTo>
                      <a:pt x="605" y="444"/>
                    </a:lnTo>
                    <a:lnTo>
                      <a:pt x="639" y="423"/>
                    </a:lnTo>
                    <a:lnTo>
                      <a:pt x="672" y="401"/>
                    </a:lnTo>
                    <a:lnTo>
                      <a:pt x="704" y="378"/>
                    </a:lnTo>
                    <a:lnTo>
                      <a:pt x="734" y="356"/>
                    </a:lnTo>
                    <a:lnTo>
                      <a:pt x="762" y="332"/>
                    </a:lnTo>
                    <a:lnTo>
                      <a:pt x="789" y="309"/>
                    </a:lnTo>
                    <a:lnTo>
                      <a:pt x="813" y="285"/>
                    </a:lnTo>
                    <a:lnTo>
                      <a:pt x="831" y="267"/>
                    </a:lnTo>
                    <a:lnTo>
                      <a:pt x="847" y="251"/>
                    </a:lnTo>
                    <a:lnTo>
                      <a:pt x="864" y="236"/>
                    </a:lnTo>
                    <a:lnTo>
                      <a:pt x="884" y="221"/>
                    </a:lnTo>
                    <a:lnTo>
                      <a:pt x="901" y="208"/>
                    </a:lnTo>
                    <a:lnTo>
                      <a:pt x="919" y="196"/>
                    </a:lnTo>
                    <a:lnTo>
                      <a:pt x="938" y="184"/>
                    </a:lnTo>
                    <a:lnTo>
                      <a:pt x="958" y="172"/>
                    </a:lnTo>
                    <a:lnTo>
                      <a:pt x="977" y="161"/>
                    </a:lnTo>
                    <a:lnTo>
                      <a:pt x="997" y="151"/>
                    </a:lnTo>
                    <a:lnTo>
                      <a:pt x="1016" y="141"/>
                    </a:lnTo>
                    <a:lnTo>
                      <a:pt x="1035" y="129"/>
                    </a:lnTo>
                    <a:lnTo>
                      <a:pt x="1055" y="118"/>
                    </a:lnTo>
                    <a:lnTo>
                      <a:pt x="1074" y="107"/>
                    </a:lnTo>
                    <a:lnTo>
                      <a:pt x="1095" y="95"/>
                    </a:lnTo>
                    <a:lnTo>
                      <a:pt x="1115" y="81"/>
                    </a:lnTo>
                    <a:lnTo>
                      <a:pt x="1201" y="0"/>
                    </a:lnTo>
                    <a:lnTo>
                      <a:pt x="1203" y="0"/>
                    </a:lnTo>
                    <a:lnTo>
                      <a:pt x="1210" y="3"/>
                    </a:lnTo>
                    <a:lnTo>
                      <a:pt x="1219" y="7"/>
                    </a:lnTo>
                    <a:lnTo>
                      <a:pt x="1233" y="14"/>
                    </a:lnTo>
                    <a:lnTo>
                      <a:pt x="1249" y="26"/>
                    </a:lnTo>
                    <a:lnTo>
                      <a:pt x="1267" y="43"/>
                    </a:lnTo>
                    <a:lnTo>
                      <a:pt x="1288" y="65"/>
                    </a:lnTo>
                    <a:lnTo>
                      <a:pt x="1309" y="92"/>
                    </a:lnTo>
                    <a:lnTo>
                      <a:pt x="1334" y="123"/>
                    </a:lnTo>
                    <a:lnTo>
                      <a:pt x="1364" y="156"/>
                    </a:lnTo>
                    <a:lnTo>
                      <a:pt x="1395" y="187"/>
                    </a:lnTo>
                    <a:lnTo>
                      <a:pt x="1431" y="216"/>
                    </a:lnTo>
                    <a:lnTo>
                      <a:pt x="1466" y="243"/>
                    </a:lnTo>
                    <a:lnTo>
                      <a:pt x="1503" y="267"/>
                    </a:lnTo>
                    <a:lnTo>
                      <a:pt x="1540" y="285"/>
                    </a:lnTo>
                    <a:lnTo>
                      <a:pt x="1577" y="295"/>
                    </a:lnTo>
                    <a:lnTo>
                      <a:pt x="1611" y="307"/>
                    </a:lnTo>
                    <a:lnTo>
                      <a:pt x="1642" y="325"/>
                    </a:lnTo>
                    <a:lnTo>
                      <a:pt x="1671" y="349"/>
                    </a:lnTo>
                    <a:lnTo>
                      <a:pt x="1699" y="377"/>
                    </a:lnTo>
                    <a:lnTo>
                      <a:pt x="1729" y="408"/>
                    </a:lnTo>
                    <a:lnTo>
                      <a:pt x="1759" y="439"/>
                    </a:lnTo>
                    <a:lnTo>
                      <a:pt x="1792" y="470"/>
                    </a:lnTo>
                    <a:lnTo>
                      <a:pt x="1831" y="499"/>
                    </a:lnTo>
                    <a:lnTo>
                      <a:pt x="1850" y="512"/>
                    </a:lnTo>
                    <a:lnTo>
                      <a:pt x="1872" y="525"/>
                    </a:lnTo>
                    <a:lnTo>
                      <a:pt x="1893" y="539"/>
                    </a:lnTo>
                    <a:lnTo>
                      <a:pt x="1914" y="551"/>
                    </a:lnTo>
                    <a:lnTo>
                      <a:pt x="1935" y="562"/>
                    </a:lnTo>
                    <a:lnTo>
                      <a:pt x="1956" y="573"/>
                    </a:lnTo>
                    <a:lnTo>
                      <a:pt x="1979" y="583"/>
                    </a:lnTo>
                    <a:lnTo>
                      <a:pt x="2002" y="592"/>
                    </a:lnTo>
                    <a:lnTo>
                      <a:pt x="2027" y="600"/>
                    </a:lnTo>
                    <a:lnTo>
                      <a:pt x="2052" y="606"/>
                    </a:lnTo>
                    <a:lnTo>
                      <a:pt x="2078" y="610"/>
                    </a:lnTo>
                    <a:lnTo>
                      <a:pt x="2106" y="612"/>
                    </a:lnTo>
                    <a:lnTo>
                      <a:pt x="2134" y="613"/>
                    </a:lnTo>
                    <a:lnTo>
                      <a:pt x="2164" y="612"/>
                    </a:lnTo>
                    <a:lnTo>
                      <a:pt x="2196" y="607"/>
                    </a:lnTo>
                    <a:lnTo>
                      <a:pt x="2230" y="601"/>
                    </a:lnTo>
                    <a:lnTo>
                      <a:pt x="2339" y="6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1" name="Freeform 231"/>
              <p:cNvSpPr>
                <a:spLocks/>
              </p:cNvSpPr>
              <p:nvPr/>
            </p:nvSpPr>
            <p:spPr bwMode="auto">
              <a:xfrm>
                <a:off x="4939" y="3757"/>
                <a:ext cx="393" cy="71"/>
              </a:xfrm>
              <a:custGeom>
                <a:avLst/>
                <a:gdLst>
                  <a:gd name="T0" fmla="*/ 0 w 787"/>
                  <a:gd name="T1" fmla="*/ 0 h 141"/>
                  <a:gd name="T2" fmla="*/ 2 w 787"/>
                  <a:gd name="T3" fmla="*/ 0 h 141"/>
                  <a:gd name="T4" fmla="*/ 10 w 787"/>
                  <a:gd name="T5" fmla="*/ 0 h 141"/>
                  <a:gd name="T6" fmla="*/ 23 w 787"/>
                  <a:gd name="T7" fmla="*/ 1 h 141"/>
                  <a:gd name="T8" fmla="*/ 39 w 787"/>
                  <a:gd name="T9" fmla="*/ 1 h 141"/>
                  <a:gd name="T10" fmla="*/ 58 w 787"/>
                  <a:gd name="T11" fmla="*/ 3 h 141"/>
                  <a:gd name="T12" fmla="*/ 83 w 787"/>
                  <a:gd name="T13" fmla="*/ 4 h 141"/>
                  <a:gd name="T14" fmla="*/ 109 w 787"/>
                  <a:gd name="T15" fmla="*/ 6 h 141"/>
                  <a:gd name="T16" fmla="*/ 137 w 787"/>
                  <a:gd name="T17" fmla="*/ 9 h 141"/>
                  <a:gd name="T18" fmla="*/ 169 w 787"/>
                  <a:gd name="T19" fmla="*/ 10 h 141"/>
                  <a:gd name="T20" fmla="*/ 201 w 787"/>
                  <a:gd name="T21" fmla="*/ 13 h 141"/>
                  <a:gd name="T22" fmla="*/ 234 w 787"/>
                  <a:gd name="T23" fmla="*/ 16 h 141"/>
                  <a:gd name="T24" fmla="*/ 270 w 787"/>
                  <a:gd name="T25" fmla="*/ 19 h 141"/>
                  <a:gd name="T26" fmla="*/ 305 w 787"/>
                  <a:gd name="T27" fmla="*/ 24 h 141"/>
                  <a:gd name="T28" fmla="*/ 338 w 787"/>
                  <a:gd name="T29" fmla="*/ 28 h 141"/>
                  <a:gd name="T30" fmla="*/ 374 w 787"/>
                  <a:gd name="T31" fmla="*/ 33 h 141"/>
                  <a:gd name="T32" fmla="*/ 407 w 787"/>
                  <a:gd name="T33" fmla="*/ 37 h 141"/>
                  <a:gd name="T34" fmla="*/ 439 w 787"/>
                  <a:gd name="T35" fmla="*/ 41 h 141"/>
                  <a:gd name="T36" fmla="*/ 471 w 787"/>
                  <a:gd name="T37" fmla="*/ 47 h 141"/>
                  <a:gd name="T38" fmla="*/ 501 w 787"/>
                  <a:gd name="T39" fmla="*/ 50 h 141"/>
                  <a:gd name="T40" fmla="*/ 529 w 787"/>
                  <a:gd name="T41" fmla="*/ 55 h 141"/>
                  <a:gd name="T42" fmla="*/ 555 w 787"/>
                  <a:gd name="T43" fmla="*/ 59 h 141"/>
                  <a:gd name="T44" fmla="*/ 582 w 787"/>
                  <a:gd name="T45" fmla="*/ 62 h 141"/>
                  <a:gd name="T46" fmla="*/ 607 w 787"/>
                  <a:gd name="T47" fmla="*/ 65 h 141"/>
                  <a:gd name="T48" fmla="*/ 630 w 787"/>
                  <a:gd name="T49" fmla="*/ 68 h 141"/>
                  <a:gd name="T50" fmla="*/ 651 w 787"/>
                  <a:gd name="T51" fmla="*/ 71 h 141"/>
                  <a:gd name="T52" fmla="*/ 670 w 787"/>
                  <a:gd name="T53" fmla="*/ 74 h 141"/>
                  <a:gd name="T54" fmla="*/ 690 w 787"/>
                  <a:gd name="T55" fmla="*/ 77 h 141"/>
                  <a:gd name="T56" fmla="*/ 707 w 787"/>
                  <a:gd name="T57" fmla="*/ 80 h 141"/>
                  <a:gd name="T58" fmla="*/ 723 w 787"/>
                  <a:gd name="T59" fmla="*/ 83 h 141"/>
                  <a:gd name="T60" fmla="*/ 737 w 787"/>
                  <a:gd name="T61" fmla="*/ 86 h 141"/>
                  <a:gd name="T62" fmla="*/ 749 w 787"/>
                  <a:gd name="T63" fmla="*/ 91 h 141"/>
                  <a:gd name="T64" fmla="*/ 760 w 787"/>
                  <a:gd name="T65" fmla="*/ 93 h 141"/>
                  <a:gd name="T66" fmla="*/ 776 w 787"/>
                  <a:gd name="T67" fmla="*/ 101 h 141"/>
                  <a:gd name="T68" fmla="*/ 785 w 787"/>
                  <a:gd name="T69" fmla="*/ 110 h 141"/>
                  <a:gd name="T70" fmla="*/ 787 w 787"/>
                  <a:gd name="T71" fmla="*/ 119 h 141"/>
                  <a:gd name="T72" fmla="*/ 783 w 787"/>
                  <a:gd name="T73" fmla="*/ 126 h 141"/>
                  <a:gd name="T74" fmla="*/ 772 w 787"/>
                  <a:gd name="T75" fmla="*/ 134 h 141"/>
                  <a:gd name="T76" fmla="*/ 758 w 787"/>
                  <a:gd name="T77" fmla="*/ 138 h 141"/>
                  <a:gd name="T78" fmla="*/ 739 w 787"/>
                  <a:gd name="T79" fmla="*/ 141 h 141"/>
                  <a:gd name="T80" fmla="*/ 716 w 787"/>
                  <a:gd name="T81" fmla="*/ 140 h 141"/>
                  <a:gd name="T82" fmla="*/ 700 w 787"/>
                  <a:gd name="T83" fmla="*/ 137 h 141"/>
                  <a:gd name="T84" fmla="*/ 677 w 787"/>
                  <a:gd name="T85" fmla="*/ 132 h 141"/>
                  <a:gd name="T86" fmla="*/ 647 w 787"/>
                  <a:gd name="T87" fmla="*/ 126 h 141"/>
                  <a:gd name="T88" fmla="*/ 612 w 787"/>
                  <a:gd name="T89" fmla="*/ 119 h 141"/>
                  <a:gd name="T90" fmla="*/ 571 w 787"/>
                  <a:gd name="T91" fmla="*/ 111 h 141"/>
                  <a:gd name="T92" fmla="*/ 527 w 787"/>
                  <a:gd name="T93" fmla="*/ 101 h 141"/>
                  <a:gd name="T94" fmla="*/ 478 w 787"/>
                  <a:gd name="T95" fmla="*/ 91 h 141"/>
                  <a:gd name="T96" fmla="*/ 427 w 787"/>
                  <a:gd name="T97" fmla="*/ 80 h 141"/>
                  <a:gd name="T98" fmla="*/ 374 w 787"/>
                  <a:gd name="T99" fmla="*/ 70 h 141"/>
                  <a:gd name="T100" fmla="*/ 319 w 787"/>
                  <a:gd name="T101" fmla="*/ 58 h 141"/>
                  <a:gd name="T102" fmla="*/ 264 w 787"/>
                  <a:gd name="T103" fmla="*/ 47 h 141"/>
                  <a:gd name="T104" fmla="*/ 208 w 787"/>
                  <a:gd name="T105" fmla="*/ 36 h 141"/>
                  <a:gd name="T106" fmla="*/ 153 w 787"/>
                  <a:gd name="T107" fmla="*/ 25 h 141"/>
                  <a:gd name="T108" fmla="*/ 100 w 787"/>
                  <a:gd name="T109" fmla="*/ 16 h 141"/>
                  <a:gd name="T110" fmla="*/ 49 w 787"/>
                  <a:gd name="T111" fmla="*/ 7 h 141"/>
                  <a:gd name="T112" fmla="*/ 0 w 787"/>
                  <a:gd name="T113" fmla="*/ 0 h 14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7"/>
                  <a:gd name="T172" fmla="*/ 0 h 141"/>
                  <a:gd name="T173" fmla="*/ 787 w 787"/>
                  <a:gd name="T174" fmla="*/ 141 h 14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7" h="141">
                    <a:moveTo>
                      <a:pt x="0" y="0"/>
                    </a:moveTo>
                    <a:lnTo>
                      <a:pt x="2" y="0"/>
                    </a:lnTo>
                    <a:lnTo>
                      <a:pt x="10" y="0"/>
                    </a:lnTo>
                    <a:lnTo>
                      <a:pt x="23" y="1"/>
                    </a:lnTo>
                    <a:lnTo>
                      <a:pt x="39" y="1"/>
                    </a:lnTo>
                    <a:lnTo>
                      <a:pt x="58" y="3"/>
                    </a:lnTo>
                    <a:lnTo>
                      <a:pt x="83" y="4"/>
                    </a:lnTo>
                    <a:lnTo>
                      <a:pt x="109" y="6"/>
                    </a:lnTo>
                    <a:lnTo>
                      <a:pt x="137" y="9"/>
                    </a:lnTo>
                    <a:lnTo>
                      <a:pt x="169" y="10"/>
                    </a:lnTo>
                    <a:lnTo>
                      <a:pt x="201" y="13"/>
                    </a:lnTo>
                    <a:lnTo>
                      <a:pt x="234" y="16"/>
                    </a:lnTo>
                    <a:lnTo>
                      <a:pt x="270" y="19"/>
                    </a:lnTo>
                    <a:lnTo>
                      <a:pt x="305" y="24"/>
                    </a:lnTo>
                    <a:lnTo>
                      <a:pt x="338" y="28"/>
                    </a:lnTo>
                    <a:lnTo>
                      <a:pt x="374" y="33"/>
                    </a:lnTo>
                    <a:lnTo>
                      <a:pt x="407" y="37"/>
                    </a:lnTo>
                    <a:lnTo>
                      <a:pt x="439" y="41"/>
                    </a:lnTo>
                    <a:lnTo>
                      <a:pt x="471" y="47"/>
                    </a:lnTo>
                    <a:lnTo>
                      <a:pt x="501" y="50"/>
                    </a:lnTo>
                    <a:lnTo>
                      <a:pt x="529" y="55"/>
                    </a:lnTo>
                    <a:lnTo>
                      <a:pt x="555" y="59"/>
                    </a:lnTo>
                    <a:lnTo>
                      <a:pt x="582" y="62"/>
                    </a:lnTo>
                    <a:lnTo>
                      <a:pt x="607" y="65"/>
                    </a:lnTo>
                    <a:lnTo>
                      <a:pt x="630" y="68"/>
                    </a:lnTo>
                    <a:lnTo>
                      <a:pt x="651" y="71"/>
                    </a:lnTo>
                    <a:lnTo>
                      <a:pt x="670" y="74"/>
                    </a:lnTo>
                    <a:lnTo>
                      <a:pt x="690" y="77"/>
                    </a:lnTo>
                    <a:lnTo>
                      <a:pt x="707" y="80"/>
                    </a:lnTo>
                    <a:lnTo>
                      <a:pt x="723" y="83"/>
                    </a:lnTo>
                    <a:lnTo>
                      <a:pt x="737" y="86"/>
                    </a:lnTo>
                    <a:lnTo>
                      <a:pt x="749" y="91"/>
                    </a:lnTo>
                    <a:lnTo>
                      <a:pt x="760" y="93"/>
                    </a:lnTo>
                    <a:lnTo>
                      <a:pt x="776" y="101"/>
                    </a:lnTo>
                    <a:lnTo>
                      <a:pt x="785" y="110"/>
                    </a:lnTo>
                    <a:lnTo>
                      <a:pt x="787" y="119"/>
                    </a:lnTo>
                    <a:lnTo>
                      <a:pt x="783" y="126"/>
                    </a:lnTo>
                    <a:lnTo>
                      <a:pt x="772" y="134"/>
                    </a:lnTo>
                    <a:lnTo>
                      <a:pt x="758" y="138"/>
                    </a:lnTo>
                    <a:lnTo>
                      <a:pt x="739" y="141"/>
                    </a:lnTo>
                    <a:lnTo>
                      <a:pt x="716" y="140"/>
                    </a:lnTo>
                    <a:lnTo>
                      <a:pt x="700" y="137"/>
                    </a:lnTo>
                    <a:lnTo>
                      <a:pt x="677" y="132"/>
                    </a:lnTo>
                    <a:lnTo>
                      <a:pt x="647" y="126"/>
                    </a:lnTo>
                    <a:lnTo>
                      <a:pt x="612" y="119"/>
                    </a:lnTo>
                    <a:lnTo>
                      <a:pt x="571" y="111"/>
                    </a:lnTo>
                    <a:lnTo>
                      <a:pt x="527" y="101"/>
                    </a:lnTo>
                    <a:lnTo>
                      <a:pt x="478" y="91"/>
                    </a:lnTo>
                    <a:lnTo>
                      <a:pt x="427" y="80"/>
                    </a:lnTo>
                    <a:lnTo>
                      <a:pt x="374" y="70"/>
                    </a:lnTo>
                    <a:lnTo>
                      <a:pt x="319" y="58"/>
                    </a:lnTo>
                    <a:lnTo>
                      <a:pt x="264" y="47"/>
                    </a:lnTo>
                    <a:lnTo>
                      <a:pt x="208" y="36"/>
                    </a:lnTo>
                    <a:lnTo>
                      <a:pt x="153" y="25"/>
                    </a:lnTo>
                    <a:lnTo>
                      <a:pt x="100" y="16"/>
                    </a:lnTo>
                    <a:lnTo>
                      <a:pt x="49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C9C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2" name="Freeform 232"/>
              <p:cNvSpPr>
                <a:spLocks/>
              </p:cNvSpPr>
              <p:nvPr/>
            </p:nvSpPr>
            <p:spPr bwMode="auto">
              <a:xfrm>
                <a:off x="4157" y="3698"/>
                <a:ext cx="1101" cy="149"/>
              </a:xfrm>
              <a:custGeom>
                <a:avLst/>
                <a:gdLst>
                  <a:gd name="T0" fmla="*/ 2203 w 2203"/>
                  <a:gd name="T1" fmla="*/ 285 h 297"/>
                  <a:gd name="T2" fmla="*/ 2196 w 2203"/>
                  <a:gd name="T3" fmla="*/ 288 h 297"/>
                  <a:gd name="T4" fmla="*/ 2180 w 2203"/>
                  <a:gd name="T5" fmla="*/ 292 h 297"/>
                  <a:gd name="T6" fmla="*/ 2157 w 2203"/>
                  <a:gd name="T7" fmla="*/ 295 h 297"/>
                  <a:gd name="T8" fmla="*/ 2124 w 2203"/>
                  <a:gd name="T9" fmla="*/ 297 h 297"/>
                  <a:gd name="T10" fmla="*/ 2078 w 2203"/>
                  <a:gd name="T11" fmla="*/ 295 h 297"/>
                  <a:gd name="T12" fmla="*/ 2020 w 2203"/>
                  <a:gd name="T13" fmla="*/ 288 h 297"/>
                  <a:gd name="T14" fmla="*/ 1948 w 2203"/>
                  <a:gd name="T15" fmla="*/ 274 h 297"/>
                  <a:gd name="T16" fmla="*/ 1866 w 2203"/>
                  <a:gd name="T17" fmla="*/ 258 h 297"/>
                  <a:gd name="T18" fmla="*/ 1806 w 2203"/>
                  <a:gd name="T19" fmla="*/ 252 h 297"/>
                  <a:gd name="T20" fmla="*/ 1764 w 2203"/>
                  <a:gd name="T21" fmla="*/ 259 h 297"/>
                  <a:gd name="T22" fmla="*/ 1736 w 2203"/>
                  <a:gd name="T23" fmla="*/ 270 h 297"/>
                  <a:gd name="T24" fmla="*/ 1709 w 2203"/>
                  <a:gd name="T25" fmla="*/ 280 h 297"/>
                  <a:gd name="T26" fmla="*/ 1678 w 2203"/>
                  <a:gd name="T27" fmla="*/ 283 h 297"/>
                  <a:gd name="T28" fmla="*/ 1635 w 2203"/>
                  <a:gd name="T29" fmla="*/ 276 h 297"/>
                  <a:gd name="T30" fmla="*/ 1574 w 2203"/>
                  <a:gd name="T31" fmla="*/ 249 h 297"/>
                  <a:gd name="T32" fmla="*/ 1526 w 2203"/>
                  <a:gd name="T33" fmla="*/ 228 h 297"/>
                  <a:gd name="T34" fmla="*/ 1484 w 2203"/>
                  <a:gd name="T35" fmla="*/ 230 h 297"/>
                  <a:gd name="T36" fmla="*/ 1411 w 2203"/>
                  <a:gd name="T37" fmla="*/ 233 h 297"/>
                  <a:gd name="T38" fmla="*/ 1314 w 2203"/>
                  <a:gd name="T39" fmla="*/ 233 h 297"/>
                  <a:gd name="T40" fmla="*/ 1205 w 2203"/>
                  <a:gd name="T41" fmla="*/ 230 h 297"/>
                  <a:gd name="T42" fmla="*/ 1094 w 2203"/>
                  <a:gd name="T43" fmla="*/ 222 h 297"/>
                  <a:gd name="T44" fmla="*/ 986 w 2203"/>
                  <a:gd name="T45" fmla="*/ 209 h 297"/>
                  <a:gd name="T46" fmla="*/ 896 w 2203"/>
                  <a:gd name="T47" fmla="*/ 188 h 297"/>
                  <a:gd name="T48" fmla="*/ 824 w 2203"/>
                  <a:gd name="T49" fmla="*/ 157 h 297"/>
                  <a:gd name="T50" fmla="*/ 737 w 2203"/>
                  <a:gd name="T51" fmla="*/ 124 h 297"/>
                  <a:gd name="T52" fmla="*/ 635 w 2203"/>
                  <a:gd name="T53" fmla="*/ 93 h 297"/>
                  <a:gd name="T54" fmla="*/ 522 w 2203"/>
                  <a:gd name="T55" fmla="*/ 65 h 297"/>
                  <a:gd name="T56" fmla="*/ 402 w 2203"/>
                  <a:gd name="T57" fmla="*/ 47 h 297"/>
                  <a:gd name="T58" fmla="*/ 281 w 2203"/>
                  <a:gd name="T59" fmla="*/ 38 h 297"/>
                  <a:gd name="T60" fmla="*/ 162 w 2203"/>
                  <a:gd name="T61" fmla="*/ 46 h 297"/>
                  <a:gd name="T62" fmla="*/ 51 w 2203"/>
                  <a:gd name="T63" fmla="*/ 71 h 297"/>
                  <a:gd name="T64" fmla="*/ 2 w 2203"/>
                  <a:gd name="T65" fmla="*/ 87 h 297"/>
                  <a:gd name="T66" fmla="*/ 20 w 2203"/>
                  <a:gd name="T67" fmla="*/ 72 h 297"/>
                  <a:gd name="T68" fmla="*/ 62 w 2203"/>
                  <a:gd name="T69" fmla="*/ 49 h 297"/>
                  <a:gd name="T70" fmla="*/ 131 w 2203"/>
                  <a:gd name="T71" fmla="*/ 23 h 297"/>
                  <a:gd name="T72" fmla="*/ 231 w 2203"/>
                  <a:gd name="T73" fmla="*/ 6 h 297"/>
                  <a:gd name="T74" fmla="*/ 371 w 2203"/>
                  <a:gd name="T75" fmla="*/ 0 h 297"/>
                  <a:gd name="T76" fmla="*/ 552 w 2203"/>
                  <a:gd name="T77" fmla="*/ 14 h 297"/>
                  <a:gd name="T78" fmla="*/ 780 w 2203"/>
                  <a:gd name="T79" fmla="*/ 56 h 297"/>
                  <a:gd name="T80" fmla="*/ 916 w 2203"/>
                  <a:gd name="T81" fmla="*/ 92 h 297"/>
                  <a:gd name="T82" fmla="*/ 928 w 2203"/>
                  <a:gd name="T83" fmla="*/ 98 h 297"/>
                  <a:gd name="T84" fmla="*/ 956 w 2203"/>
                  <a:gd name="T85" fmla="*/ 107 h 297"/>
                  <a:gd name="T86" fmla="*/ 1000 w 2203"/>
                  <a:gd name="T87" fmla="*/ 120 h 297"/>
                  <a:gd name="T88" fmla="*/ 1060 w 2203"/>
                  <a:gd name="T89" fmla="*/ 132 h 297"/>
                  <a:gd name="T90" fmla="*/ 1141 w 2203"/>
                  <a:gd name="T91" fmla="*/ 144 h 297"/>
                  <a:gd name="T92" fmla="*/ 1242 w 2203"/>
                  <a:gd name="T93" fmla="*/ 153 h 297"/>
                  <a:gd name="T94" fmla="*/ 1364 w 2203"/>
                  <a:gd name="T95" fmla="*/ 156 h 297"/>
                  <a:gd name="T96" fmla="*/ 1501 w 2203"/>
                  <a:gd name="T97" fmla="*/ 154 h 297"/>
                  <a:gd name="T98" fmla="*/ 1616 w 2203"/>
                  <a:gd name="T99" fmla="*/ 158 h 297"/>
                  <a:gd name="T100" fmla="*/ 1711 w 2203"/>
                  <a:gd name="T101" fmla="*/ 169 h 297"/>
                  <a:gd name="T102" fmla="*/ 1792 w 2203"/>
                  <a:gd name="T103" fmla="*/ 185 h 297"/>
                  <a:gd name="T104" fmla="*/ 1868 w 2203"/>
                  <a:gd name="T105" fmla="*/ 205 h 297"/>
                  <a:gd name="T106" fmla="*/ 1946 w 2203"/>
                  <a:gd name="T107" fmla="*/ 228 h 297"/>
                  <a:gd name="T108" fmla="*/ 2034 w 2203"/>
                  <a:gd name="T109" fmla="*/ 251 h 297"/>
                  <a:gd name="T110" fmla="*/ 2142 w 2203"/>
                  <a:gd name="T111" fmla="*/ 274 h 29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203"/>
                  <a:gd name="T169" fmla="*/ 0 h 297"/>
                  <a:gd name="T170" fmla="*/ 2203 w 2203"/>
                  <a:gd name="T171" fmla="*/ 297 h 29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203" h="297">
                    <a:moveTo>
                      <a:pt x="2203" y="285"/>
                    </a:moveTo>
                    <a:lnTo>
                      <a:pt x="2203" y="285"/>
                    </a:lnTo>
                    <a:lnTo>
                      <a:pt x="2200" y="286"/>
                    </a:lnTo>
                    <a:lnTo>
                      <a:pt x="2196" y="288"/>
                    </a:lnTo>
                    <a:lnTo>
                      <a:pt x="2189" y="289"/>
                    </a:lnTo>
                    <a:lnTo>
                      <a:pt x="2180" y="292"/>
                    </a:lnTo>
                    <a:lnTo>
                      <a:pt x="2170" y="294"/>
                    </a:lnTo>
                    <a:lnTo>
                      <a:pt x="2157" y="295"/>
                    </a:lnTo>
                    <a:lnTo>
                      <a:pt x="2142" y="297"/>
                    </a:lnTo>
                    <a:lnTo>
                      <a:pt x="2124" y="297"/>
                    </a:lnTo>
                    <a:lnTo>
                      <a:pt x="2101" y="297"/>
                    </a:lnTo>
                    <a:lnTo>
                      <a:pt x="2078" y="295"/>
                    </a:lnTo>
                    <a:lnTo>
                      <a:pt x="2050" y="292"/>
                    </a:lnTo>
                    <a:lnTo>
                      <a:pt x="2020" y="288"/>
                    </a:lnTo>
                    <a:lnTo>
                      <a:pt x="1985" y="282"/>
                    </a:lnTo>
                    <a:lnTo>
                      <a:pt x="1948" y="274"/>
                    </a:lnTo>
                    <a:lnTo>
                      <a:pt x="1905" y="265"/>
                    </a:lnTo>
                    <a:lnTo>
                      <a:pt x="1866" y="258"/>
                    </a:lnTo>
                    <a:lnTo>
                      <a:pt x="1833" y="254"/>
                    </a:lnTo>
                    <a:lnTo>
                      <a:pt x="1806" y="252"/>
                    </a:lnTo>
                    <a:lnTo>
                      <a:pt x="1784" y="255"/>
                    </a:lnTo>
                    <a:lnTo>
                      <a:pt x="1764" y="259"/>
                    </a:lnTo>
                    <a:lnTo>
                      <a:pt x="1748" y="264"/>
                    </a:lnTo>
                    <a:lnTo>
                      <a:pt x="1736" y="270"/>
                    </a:lnTo>
                    <a:lnTo>
                      <a:pt x="1722" y="276"/>
                    </a:lnTo>
                    <a:lnTo>
                      <a:pt x="1709" y="280"/>
                    </a:lnTo>
                    <a:lnTo>
                      <a:pt x="1695" y="283"/>
                    </a:lnTo>
                    <a:lnTo>
                      <a:pt x="1678" y="283"/>
                    </a:lnTo>
                    <a:lnTo>
                      <a:pt x="1660" y="282"/>
                    </a:lnTo>
                    <a:lnTo>
                      <a:pt x="1635" y="276"/>
                    </a:lnTo>
                    <a:lnTo>
                      <a:pt x="1607" y="265"/>
                    </a:lnTo>
                    <a:lnTo>
                      <a:pt x="1574" y="249"/>
                    </a:lnTo>
                    <a:lnTo>
                      <a:pt x="1531" y="228"/>
                    </a:lnTo>
                    <a:lnTo>
                      <a:pt x="1526" y="228"/>
                    </a:lnTo>
                    <a:lnTo>
                      <a:pt x="1510" y="230"/>
                    </a:lnTo>
                    <a:lnTo>
                      <a:pt x="1484" y="230"/>
                    </a:lnTo>
                    <a:lnTo>
                      <a:pt x="1452" y="231"/>
                    </a:lnTo>
                    <a:lnTo>
                      <a:pt x="1411" y="233"/>
                    </a:lnTo>
                    <a:lnTo>
                      <a:pt x="1365" y="233"/>
                    </a:lnTo>
                    <a:lnTo>
                      <a:pt x="1314" y="233"/>
                    </a:lnTo>
                    <a:lnTo>
                      <a:pt x="1261" y="231"/>
                    </a:lnTo>
                    <a:lnTo>
                      <a:pt x="1205" y="230"/>
                    </a:lnTo>
                    <a:lnTo>
                      <a:pt x="1148" y="227"/>
                    </a:lnTo>
                    <a:lnTo>
                      <a:pt x="1094" y="222"/>
                    </a:lnTo>
                    <a:lnTo>
                      <a:pt x="1039" y="216"/>
                    </a:lnTo>
                    <a:lnTo>
                      <a:pt x="986" y="209"/>
                    </a:lnTo>
                    <a:lnTo>
                      <a:pt x="939" y="200"/>
                    </a:lnTo>
                    <a:lnTo>
                      <a:pt x="896" y="188"/>
                    </a:lnTo>
                    <a:lnTo>
                      <a:pt x="859" y="173"/>
                    </a:lnTo>
                    <a:lnTo>
                      <a:pt x="824" y="157"/>
                    </a:lnTo>
                    <a:lnTo>
                      <a:pt x="783" y="141"/>
                    </a:lnTo>
                    <a:lnTo>
                      <a:pt x="737" y="124"/>
                    </a:lnTo>
                    <a:lnTo>
                      <a:pt x="688" y="108"/>
                    </a:lnTo>
                    <a:lnTo>
                      <a:pt x="635" y="93"/>
                    </a:lnTo>
                    <a:lnTo>
                      <a:pt x="580" y="78"/>
                    </a:lnTo>
                    <a:lnTo>
                      <a:pt x="522" y="65"/>
                    </a:lnTo>
                    <a:lnTo>
                      <a:pt x="464" y="55"/>
                    </a:lnTo>
                    <a:lnTo>
                      <a:pt x="402" y="47"/>
                    </a:lnTo>
                    <a:lnTo>
                      <a:pt x="342" y="41"/>
                    </a:lnTo>
                    <a:lnTo>
                      <a:pt x="281" y="38"/>
                    </a:lnTo>
                    <a:lnTo>
                      <a:pt x="221" y="40"/>
                    </a:lnTo>
                    <a:lnTo>
                      <a:pt x="162" y="46"/>
                    </a:lnTo>
                    <a:lnTo>
                      <a:pt x="106" y="56"/>
                    </a:lnTo>
                    <a:lnTo>
                      <a:pt x="51" y="71"/>
                    </a:lnTo>
                    <a:lnTo>
                      <a:pt x="0" y="90"/>
                    </a:lnTo>
                    <a:lnTo>
                      <a:pt x="2" y="87"/>
                    </a:lnTo>
                    <a:lnTo>
                      <a:pt x="9" y="81"/>
                    </a:lnTo>
                    <a:lnTo>
                      <a:pt x="20" y="72"/>
                    </a:lnTo>
                    <a:lnTo>
                      <a:pt x="37" y="62"/>
                    </a:lnTo>
                    <a:lnTo>
                      <a:pt x="62" y="49"/>
                    </a:lnTo>
                    <a:lnTo>
                      <a:pt x="92" y="37"/>
                    </a:lnTo>
                    <a:lnTo>
                      <a:pt x="131" y="23"/>
                    </a:lnTo>
                    <a:lnTo>
                      <a:pt x="177" y="13"/>
                    </a:lnTo>
                    <a:lnTo>
                      <a:pt x="231" y="6"/>
                    </a:lnTo>
                    <a:lnTo>
                      <a:pt x="296" y="0"/>
                    </a:lnTo>
                    <a:lnTo>
                      <a:pt x="371" y="0"/>
                    </a:lnTo>
                    <a:lnTo>
                      <a:pt x="455" y="4"/>
                    </a:lnTo>
                    <a:lnTo>
                      <a:pt x="552" y="14"/>
                    </a:lnTo>
                    <a:lnTo>
                      <a:pt x="660" y="31"/>
                    </a:lnTo>
                    <a:lnTo>
                      <a:pt x="780" y="56"/>
                    </a:lnTo>
                    <a:lnTo>
                      <a:pt x="914" y="90"/>
                    </a:lnTo>
                    <a:lnTo>
                      <a:pt x="916" y="92"/>
                    </a:lnTo>
                    <a:lnTo>
                      <a:pt x="921" y="93"/>
                    </a:lnTo>
                    <a:lnTo>
                      <a:pt x="928" y="98"/>
                    </a:lnTo>
                    <a:lnTo>
                      <a:pt x="940" y="102"/>
                    </a:lnTo>
                    <a:lnTo>
                      <a:pt x="956" y="107"/>
                    </a:lnTo>
                    <a:lnTo>
                      <a:pt x="976" y="112"/>
                    </a:lnTo>
                    <a:lnTo>
                      <a:pt x="1000" y="120"/>
                    </a:lnTo>
                    <a:lnTo>
                      <a:pt x="1029" y="126"/>
                    </a:lnTo>
                    <a:lnTo>
                      <a:pt x="1060" y="132"/>
                    </a:lnTo>
                    <a:lnTo>
                      <a:pt x="1099" y="138"/>
                    </a:lnTo>
                    <a:lnTo>
                      <a:pt x="1141" y="144"/>
                    </a:lnTo>
                    <a:lnTo>
                      <a:pt x="1189" y="148"/>
                    </a:lnTo>
                    <a:lnTo>
                      <a:pt x="1242" y="153"/>
                    </a:lnTo>
                    <a:lnTo>
                      <a:pt x="1298" y="154"/>
                    </a:lnTo>
                    <a:lnTo>
                      <a:pt x="1364" y="156"/>
                    </a:lnTo>
                    <a:lnTo>
                      <a:pt x="1432" y="154"/>
                    </a:lnTo>
                    <a:lnTo>
                      <a:pt x="1501" y="154"/>
                    </a:lnTo>
                    <a:lnTo>
                      <a:pt x="1561" y="154"/>
                    </a:lnTo>
                    <a:lnTo>
                      <a:pt x="1616" y="158"/>
                    </a:lnTo>
                    <a:lnTo>
                      <a:pt x="1665" y="163"/>
                    </a:lnTo>
                    <a:lnTo>
                      <a:pt x="1711" y="169"/>
                    </a:lnTo>
                    <a:lnTo>
                      <a:pt x="1752" y="176"/>
                    </a:lnTo>
                    <a:lnTo>
                      <a:pt x="1792" y="185"/>
                    </a:lnTo>
                    <a:lnTo>
                      <a:pt x="1829" y="194"/>
                    </a:lnTo>
                    <a:lnTo>
                      <a:pt x="1868" y="205"/>
                    </a:lnTo>
                    <a:lnTo>
                      <a:pt x="1905" y="216"/>
                    </a:lnTo>
                    <a:lnTo>
                      <a:pt x="1946" y="228"/>
                    </a:lnTo>
                    <a:lnTo>
                      <a:pt x="1988" y="239"/>
                    </a:lnTo>
                    <a:lnTo>
                      <a:pt x="2034" y="251"/>
                    </a:lnTo>
                    <a:lnTo>
                      <a:pt x="2085" y="262"/>
                    </a:lnTo>
                    <a:lnTo>
                      <a:pt x="2142" y="274"/>
                    </a:lnTo>
                    <a:lnTo>
                      <a:pt x="2203" y="28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2" name="AutoShape 233"/>
            <p:cNvSpPr>
              <a:spLocks noChangeArrowheads="1"/>
            </p:cNvSpPr>
            <p:nvPr/>
          </p:nvSpPr>
          <p:spPr bwMode="auto">
            <a:xfrm>
              <a:off x="2698" y="2496"/>
              <a:ext cx="364" cy="424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430200" prstMaterial="legacyWirefram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23" name="AutoShape 234"/>
            <p:cNvSpPr>
              <a:spLocks noChangeArrowheads="1"/>
            </p:cNvSpPr>
            <p:nvPr/>
          </p:nvSpPr>
          <p:spPr bwMode="auto">
            <a:xfrm flipH="1">
              <a:off x="2984" y="2880"/>
              <a:ext cx="960" cy="240"/>
            </a:xfrm>
            <a:prstGeom prst="curvedDownArrow">
              <a:avLst>
                <a:gd name="adj1" fmla="val 80000"/>
                <a:gd name="adj2" fmla="val 160000"/>
                <a:gd name="adj3" fmla="val 33333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AutoShape 235"/>
            <p:cNvSpPr>
              <a:spLocks noChangeArrowheads="1"/>
            </p:cNvSpPr>
            <p:nvPr/>
          </p:nvSpPr>
          <p:spPr bwMode="auto">
            <a:xfrm>
              <a:off x="4080" y="3120"/>
              <a:ext cx="124" cy="144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63500" prstMaterial="legacyWirefram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25" name="Freeform 237"/>
            <p:cNvSpPr>
              <a:spLocks/>
            </p:cNvSpPr>
            <p:nvPr/>
          </p:nvSpPr>
          <p:spPr bwMode="auto">
            <a:xfrm flipH="1">
              <a:off x="4958" y="3402"/>
              <a:ext cx="327" cy="117"/>
            </a:xfrm>
            <a:custGeom>
              <a:avLst/>
              <a:gdLst>
                <a:gd name="T0" fmla="*/ 23 w 652"/>
                <a:gd name="T1" fmla="*/ 24 h 234"/>
                <a:gd name="T2" fmla="*/ 4 w 652"/>
                <a:gd name="T3" fmla="*/ 37 h 234"/>
                <a:gd name="T4" fmla="*/ 0 w 652"/>
                <a:gd name="T5" fmla="*/ 68 h 234"/>
                <a:gd name="T6" fmla="*/ 59 w 652"/>
                <a:gd name="T7" fmla="*/ 122 h 234"/>
                <a:gd name="T8" fmla="*/ 156 w 652"/>
                <a:gd name="T9" fmla="*/ 171 h 234"/>
                <a:gd name="T10" fmla="*/ 272 w 652"/>
                <a:gd name="T11" fmla="*/ 216 h 234"/>
                <a:gd name="T12" fmla="*/ 331 w 652"/>
                <a:gd name="T13" fmla="*/ 234 h 234"/>
                <a:gd name="T14" fmla="*/ 369 w 652"/>
                <a:gd name="T15" fmla="*/ 224 h 234"/>
                <a:gd name="T16" fmla="*/ 434 w 652"/>
                <a:gd name="T17" fmla="*/ 192 h 234"/>
                <a:gd name="T18" fmla="*/ 490 w 652"/>
                <a:gd name="T19" fmla="*/ 171 h 234"/>
                <a:gd name="T20" fmla="*/ 527 w 652"/>
                <a:gd name="T21" fmla="*/ 164 h 234"/>
                <a:gd name="T22" fmla="*/ 569 w 652"/>
                <a:gd name="T23" fmla="*/ 171 h 234"/>
                <a:gd name="T24" fmla="*/ 627 w 652"/>
                <a:gd name="T25" fmla="*/ 185 h 234"/>
                <a:gd name="T26" fmla="*/ 652 w 652"/>
                <a:gd name="T27" fmla="*/ 168 h 234"/>
                <a:gd name="T28" fmla="*/ 644 w 652"/>
                <a:gd name="T29" fmla="*/ 153 h 234"/>
                <a:gd name="T30" fmla="*/ 590 w 652"/>
                <a:gd name="T31" fmla="*/ 145 h 234"/>
                <a:gd name="T32" fmla="*/ 566 w 652"/>
                <a:gd name="T33" fmla="*/ 130 h 234"/>
                <a:gd name="T34" fmla="*/ 601 w 652"/>
                <a:gd name="T35" fmla="*/ 116 h 234"/>
                <a:gd name="T36" fmla="*/ 651 w 652"/>
                <a:gd name="T37" fmla="*/ 100 h 234"/>
                <a:gd name="T38" fmla="*/ 652 w 652"/>
                <a:gd name="T39" fmla="*/ 85 h 234"/>
                <a:gd name="T40" fmla="*/ 635 w 652"/>
                <a:gd name="T41" fmla="*/ 74 h 234"/>
                <a:gd name="T42" fmla="*/ 610 w 652"/>
                <a:gd name="T43" fmla="*/ 74 h 234"/>
                <a:gd name="T44" fmla="*/ 556 w 652"/>
                <a:gd name="T45" fmla="*/ 99 h 234"/>
                <a:gd name="T46" fmla="*/ 537 w 652"/>
                <a:gd name="T47" fmla="*/ 82 h 234"/>
                <a:gd name="T48" fmla="*/ 541 w 652"/>
                <a:gd name="T49" fmla="*/ 59 h 234"/>
                <a:gd name="T50" fmla="*/ 539 w 652"/>
                <a:gd name="T51" fmla="*/ 3 h 234"/>
                <a:gd name="T52" fmla="*/ 507 w 652"/>
                <a:gd name="T53" fmla="*/ 12 h 234"/>
                <a:gd name="T54" fmla="*/ 514 w 652"/>
                <a:gd name="T55" fmla="*/ 91 h 234"/>
                <a:gd name="T56" fmla="*/ 491 w 652"/>
                <a:gd name="T57" fmla="*/ 136 h 234"/>
                <a:gd name="T58" fmla="*/ 389 w 652"/>
                <a:gd name="T59" fmla="*/ 168 h 234"/>
                <a:gd name="T60" fmla="*/ 329 w 652"/>
                <a:gd name="T61" fmla="*/ 182 h 234"/>
                <a:gd name="T62" fmla="*/ 245 w 652"/>
                <a:gd name="T63" fmla="*/ 147 h 234"/>
                <a:gd name="T64" fmla="*/ 143 w 652"/>
                <a:gd name="T65" fmla="*/ 91 h 234"/>
                <a:gd name="T66" fmla="*/ 74 w 652"/>
                <a:gd name="T67" fmla="*/ 47 h 23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52"/>
                <a:gd name="T103" fmla="*/ 0 h 234"/>
                <a:gd name="T104" fmla="*/ 652 w 652"/>
                <a:gd name="T105" fmla="*/ 234 h 23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52" h="234">
                  <a:moveTo>
                    <a:pt x="59" y="31"/>
                  </a:moveTo>
                  <a:lnTo>
                    <a:pt x="23" y="24"/>
                  </a:lnTo>
                  <a:lnTo>
                    <a:pt x="18" y="30"/>
                  </a:lnTo>
                  <a:lnTo>
                    <a:pt x="4" y="37"/>
                  </a:lnTo>
                  <a:lnTo>
                    <a:pt x="2" y="64"/>
                  </a:lnTo>
                  <a:lnTo>
                    <a:pt x="0" y="68"/>
                  </a:lnTo>
                  <a:lnTo>
                    <a:pt x="16" y="93"/>
                  </a:lnTo>
                  <a:lnTo>
                    <a:pt x="59" y="122"/>
                  </a:lnTo>
                  <a:lnTo>
                    <a:pt x="118" y="153"/>
                  </a:lnTo>
                  <a:lnTo>
                    <a:pt x="156" y="171"/>
                  </a:lnTo>
                  <a:lnTo>
                    <a:pt x="210" y="196"/>
                  </a:lnTo>
                  <a:lnTo>
                    <a:pt x="272" y="216"/>
                  </a:lnTo>
                  <a:lnTo>
                    <a:pt x="307" y="227"/>
                  </a:lnTo>
                  <a:lnTo>
                    <a:pt x="331" y="234"/>
                  </a:lnTo>
                  <a:lnTo>
                    <a:pt x="349" y="233"/>
                  </a:lnTo>
                  <a:lnTo>
                    <a:pt x="369" y="224"/>
                  </a:lnTo>
                  <a:lnTo>
                    <a:pt x="397" y="210"/>
                  </a:lnTo>
                  <a:lnTo>
                    <a:pt x="434" y="192"/>
                  </a:lnTo>
                  <a:lnTo>
                    <a:pt x="460" y="178"/>
                  </a:lnTo>
                  <a:lnTo>
                    <a:pt x="490" y="171"/>
                  </a:lnTo>
                  <a:lnTo>
                    <a:pt x="507" y="167"/>
                  </a:lnTo>
                  <a:lnTo>
                    <a:pt x="527" y="164"/>
                  </a:lnTo>
                  <a:lnTo>
                    <a:pt x="546" y="167"/>
                  </a:lnTo>
                  <a:lnTo>
                    <a:pt x="569" y="171"/>
                  </a:lnTo>
                  <a:lnTo>
                    <a:pt x="603" y="182"/>
                  </a:lnTo>
                  <a:lnTo>
                    <a:pt x="627" y="185"/>
                  </a:lnTo>
                  <a:lnTo>
                    <a:pt x="646" y="179"/>
                  </a:lnTo>
                  <a:lnTo>
                    <a:pt x="652" y="168"/>
                  </a:lnTo>
                  <a:lnTo>
                    <a:pt x="648" y="154"/>
                  </a:lnTo>
                  <a:lnTo>
                    <a:pt x="644" y="153"/>
                  </a:lnTo>
                  <a:lnTo>
                    <a:pt x="617" y="144"/>
                  </a:lnTo>
                  <a:lnTo>
                    <a:pt x="590" y="145"/>
                  </a:lnTo>
                  <a:lnTo>
                    <a:pt x="570" y="141"/>
                  </a:lnTo>
                  <a:lnTo>
                    <a:pt x="566" y="130"/>
                  </a:lnTo>
                  <a:lnTo>
                    <a:pt x="577" y="122"/>
                  </a:lnTo>
                  <a:lnTo>
                    <a:pt x="601" y="116"/>
                  </a:lnTo>
                  <a:lnTo>
                    <a:pt x="639" y="110"/>
                  </a:lnTo>
                  <a:lnTo>
                    <a:pt x="651" y="100"/>
                  </a:lnTo>
                  <a:lnTo>
                    <a:pt x="652" y="96"/>
                  </a:lnTo>
                  <a:lnTo>
                    <a:pt x="652" y="85"/>
                  </a:lnTo>
                  <a:lnTo>
                    <a:pt x="648" y="82"/>
                  </a:lnTo>
                  <a:lnTo>
                    <a:pt x="635" y="74"/>
                  </a:lnTo>
                  <a:lnTo>
                    <a:pt x="630" y="74"/>
                  </a:lnTo>
                  <a:lnTo>
                    <a:pt x="610" y="74"/>
                  </a:lnTo>
                  <a:lnTo>
                    <a:pt x="572" y="91"/>
                  </a:lnTo>
                  <a:lnTo>
                    <a:pt x="556" y="99"/>
                  </a:lnTo>
                  <a:lnTo>
                    <a:pt x="544" y="99"/>
                  </a:lnTo>
                  <a:lnTo>
                    <a:pt x="537" y="82"/>
                  </a:lnTo>
                  <a:lnTo>
                    <a:pt x="535" y="78"/>
                  </a:lnTo>
                  <a:lnTo>
                    <a:pt x="541" y="59"/>
                  </a:lnTo>
                  <a:lnTo>
                    <a:pt x="545" y="27"/>
                  </a:lnTo>
                  <a:lnTo>
                    <a:pt x="539" y="3"/>
                  </a:lnTo>
                  <a:lnTo>
                    <a:pt x="522" y="0"/>
                  </a:lnTo>
                  <a:lnTo>
                    <a:pt x="507" y="12"/>
                  </a:lnTo>
                  <a:lnTo>
                    <a:pt x="506" y="45"/>
                  </a:lnTo>
                  <a:lnTo>
                    <a:pt x="514" y="91"/>
                  </a:lnTo>
                  <a:lnTo>
                    <a:pt x="511" y="116"/>
                  </a:lnTo>
                  <a:lnTo>
                    <a:pt x="491" y="136"/>
                  </a:lnTo>
                  <a:lnTo>
                    <a:pt x="435" y="153"/>
                  </a:lnTo>
                  <a:lnTo>
                    <a:pt x="389" y="168"/>
                  </a:lnTo>
                  <a:lnTo>
                    <a:pt x="346" y="181"/>
                  </a:lnTo>
                  <a:lnTo>
                    <a:pt x="329" y="182"/>
                  </a:lnTo>
                  <a:lnTo>
                    <a:pt x="296" y="175"/>
                  </a:lnTo>
                  <a:lnTo>
                    <a:pt x="245" y="147"/>
                  </a:lnTo>
                  <a:lnTo>
                    <a:pt x="193" y="120"/>
                  </a:lnTo>
                  <a:lnTo>
                    <a:pt x="143" y="91"/>
                  </a:lnTo>
                  <a:lnTo>
                    <a:pt x="105" y="67"/>
                  </a:lnTo>
                  <a:lnTo>
                    <a:pt x="74" y="47"/>
                  </a:lnTo>
                  <a:lnTo>
                    <a:pt x="59" y="3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42"/>
            <p:cNvSpPr>
              <a:spLocks/>
            </p:cNvSpPr>
            <p:nvPr/>
          </p:nvSpPr>
          <p:spPr bwMode="auto">
            <a:xfrm flipH="1">
              <a:off x="5178" y="3224"/>
              <a:ext cx="187" cy="158"/>
            </a:xfrm>
            <a:custGeom>
              <a:avLst/>
              <a:gdLst>
                <a:gd name="T0" fmla="*/ 252 w 373"/>
                <a:gd name="T1" fmla="*/ 141 h 315"/>
                <a:gd name="T2" fmla="*/ 234 w 373"/>
                <a:gd name="T3" fmla="*/ 95 h 315"/>
                <a:gd name="T4" fmla="*/ 213 w 373"/>
                <a:gd name="T5" fmla="*/ 63 h 315"/>
                <a:gd name="T6" fmla="*/ 186 w 373"/>
                <a:gd name="T7" fmla="*/ 33 h 315"/>
                <a:gd name="T8" fmla="*/ 161 w 373"/>
                <a:gd name="T9" fmla="*/ 8 h 315"/>
                <a:gd name="T10" fmla="*/ 139 w 373"/>
                <a:gd name="T11" fmla="*/ 2 h 315"/>
                <a:gd name="T12" fmla="*/ 107 w 373"/>
                <a:gd name="T13" fmla="*/ 0 h 315"/>
                <a:gd name="T14" fmla="*/ 103 w 373"/>
                <a:gd name="T15" fmla="*/ 0 h 315"/>
                <a:gd name="T16" fmla="*/ 73 w 373"/>
                <a:gd name="T17" fmla="*/ 8 h 315"/>
                <a:gd name="T18" fmla="*/ 42 w 373"/>
                <a:gd name="T19" fmla="*/ 28 h 315"/>
                <a:gd name="T20" fmla="*/ 20 w 373"/>
                <a:gd name="T21" fmla="*/ 57 h 315"/>
                <a:gd name="T22" fmla="*/ 7 w 373"/>
                <a:gd name="T23" fmla="*/ 90 h 315"/>
                <a:gd name="T24" fmla="*/ 0 w 373"/>
                <a:gd name="T25" fmla="*/ 129 h 315"/>
                <a:gd name="T26" fmla="*/ 5 w 373"/>
                <a:gd name="T27" fmla="*/ 172 h 315"/>
                <a:gd name="T28" fmla="*/ 18 w 373"/>
                <a:gd name="T29" fmla="*/ 215 h 315"/>
                <a:gd name="T30" fmla="*/ 38 w 373"/>
                <a:gd name="T31" fmla="*/ 260 h 315"/>
                <a:gd name="T32" fmla="*/ 58 w 373"/>
                <a:gd name="T33" fmla="*/ 286 h 315"/>
                <a:gd name="T34" fmla="*/ 80 w 373"/>
                <a:gd name="T35" fmla="*/ 301 h 315"/>
                <a:gd name="T36" fmla="*/ 101 w 373"/>
                <a:gd name="T37" fmla="*/ 311 h 315"/>
                <a:gd name="T38" fmla="*/ 131 w 373"/>
                <a:gd name="T39" fmla="*/ 315 h 315"/>
                <a:gd name="T40" fmla="*/ 162 w 373"/>
                <a:gd name="T41" fmla="*/ 311 h 315"/>
                <a:gd name="T42" fmla="*/ 190 w 373"/>
                <a:gd name="T43" fmla="*/ 304 h 315"/>
                <a:gd name="T44" fmla="*/ 213 w 373"/>
                <a:gd name="T45" fmla="*/ 291 h 315"/>
                <a:gd name="T46" fmla="*/ 228 w 373"/>
                <a:gd name="T47" fmla="*/ 273 h 315"/>
                <a:gd name="T48" fmla="*/ 241 w 373"/>
                <a:gd name="T49" fmla="*/ 248 h 315"/>
                <a:gd name="T50" fmla="*/ 249 w 373"/>
                <a:gd name="T51" fmla="*/ 219 h 315"/>
                <a:gd name="T52" fmla="*/ 252 w 373"/>
                <a:gd name="T53" fmla="*/ 186 h 315"/>
                <a:gd name="T54" fmla="*/ 301 w 373"/>
                <a:gd name="T55" fmla="*/ 194 h 315"/>
                <a:gd name="T56" fmla="*/ 351 w 373"/>
                <a:gd name="T57" fmla="*/ 198 h 315"/>
                <a:gd name="T58" fmla="*/ 365 w 373"/>
                <a:gd name="T59" fmla="*/ 194 h 315"/>
                <a:gd name="T60" fmla="*/ 373 w 373"/>
                <a:gd name="T61" fmla="*/ 183 h 315"/>
                <a:gd name="T62" fmla="*/ 369 w 373"/>
                <a:gd name="T63" fmla="*/ 163 h 315"/>
                <a:gd name="T64" fmla="*/ 356 w 373"/>
                <a:gd name="T65" fmla="*/ 149 h 315"/>
                <a:gd name="T66" fmla="*/ 331 w 373"/>
                <a:gd name="T67" fmla="*/ 145 h 315"/>
                <a:gd name="T68" fmla="*/ 290 w 373"/>
                <a:gd name="T69" fmla="*/ 148 h 315"/>
                <a:gd name="T70" fmla="*/ 285 w 373"/>
                <a:gd name="T71" fmla="*/ 148 h 315"/>
                <a:gd name="T72" fmla="*/ 262 w 373"/>
                <a:gd name="T73" fmla="*/ 143 h 315"/>
                <a:gd name="T74" fmla="*/ 252 w 373"/>
                <a:gd name="T75" fmla="*/ 141 h 31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3"/>
                <a:gd name="T115" fmla="*/ 0 h 315"/>
                <a:gd name="T116" fmla="*/ 373 w 373"/>
                <a:gd name="T117" fmla="*/ 315 h 31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3" h="315">
                  <a:moveTo>
                    <a:pt x="252" y="141"/>
                  </a:moveTo>
                  <a:lnTo>
                    <a:pt x="234" y="95"/>
                  </a:lnTo>
                  <a:lnTo>
                    <a:pt x="213" y="63"/>
                  </a:lnTo>
                  <a:lnTo>
                    <a:pt x="186" y="33"/>
                  </a:lnTo>
                  <a:lnTo>
                    <a:pt x="161" y="8"/>
                  </a:lnTo>
                  <a:lnTo>
                    <a:pt x="139" y="2"/>
                  </a:lnTo>
                  <a:lnTo>
                    <a:pt x="107" y="0"/>
                  </a:lnTo>
                  <a:lnTo>
                    <a:pt x="103" y="0"/>
                  </a:lnTo>
                  <a:lnTo>
                    <a:pt x="73" y="8"/>
                  </a:lnTo>
                  <a:lnTo>
                    <a:pt x="42" y="28"/>
                  </a:lnTo>
                  <a:lnTo>
                    <a:pt x="20" y="57"/>
                  </a:lnTo>
                  <a:lnTo>
                    <a:pt x="7" y="90"/>
                  </a:lnTo>
                  <a:lnTo>
                    <a:pt x="0" y="129"/>
                  </a:lnTo>
                  <a:lnTo>
                    <a:pt x="5" y="172"/>
                  </a:lnTo>
                  <a:lnTo>
                    <a:pt x="18" y="215"/>
                  </a:lnTo>
                  <a:lnTo>
                    <a:pt x="38" y="260"/>
                  </a:lnTo>
                  <a:lnTo>
                    <a:pt x="58" y="286"/>
                  </a:lnTo>
                  <a:lnTo>
                    <a:pt x="80" y="301"/>
                  </a:lnTo>
                  <a:lnTo>
                    <a:pt x="101" y="311"/>
                  </a:lnTo>
                  <a:lnTo>
                    <a:pt x="131" y="315"/>
                  </a:lnTo>
                  <a:lnTo>
                    <a:pt x="162" y="311"/>
                  </a:lnTo>
                  <a:lnTo>
                    <a:pt x="190" y="304"/>
                  </a:lnTo>
                  <a:lnTo>
                    <a:pt x="213" y="291"/>
                  </a:lnTo>
                  <a:lnTo>
                    <a:pt x="228" y="273"/>
                  </a:lnTo>
                  <a:lnTo>
                    <a:pt x="241" y="248"/>
                  </a:lnTo>
                  <a:lnTo>
                    <a:pt x="249" y="219"/>
                  </a:lnTo>
                  <a:lnTo>
                    <a:pt x="252" y="186"/>
                  </a:lnTo>
                  <a:lnTo>
                    <a:pt x="301" y="194"/>
                  </a:lnTo>
                  <a:lnTo>
                    <a:pt x="351" y="198"/>
                  </a:lnTo>
                  <a:lnTo>
                    <a:pt x="365" y="194"/>
                  </a:lnTo>
                  <a:lnTo>
                    <a:pt x="373" y="183"/>
                  </a:lnTo>
                  <a:lnTo>
                    <a:pt x="369" y="163"/>
                  </a:lnTo>
                  <a:lnTo>
                    <a:pt x="356" y="149"/>
                  </a:lnTo>
                  <a:lnTo>
                    <a:pt x="331" y="145"/>
                  </a:lnTo>
                  <a:lnTo>
                    <a:pt x="290" y="148"/>
                  </a:lnTo>
                  <a:lnTo>
                    <a:pt x="285" y="148"/>
                  </a:lnTo>
                  <a:lnTo>
                    <a:pt x="262" y="143"/>
                  </a:lnTo>
                  <a:lnTo>
                    <a:pt x="252" y="14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1" name="Group 243"/>
            <p:cNvGrpSpPr>
              <a:grpSpLocks/>
            </p:cNvGrpSpPr>
            <p:nvPr/>
          </p:nvGrpSpPr>
          <p:grpSpPr bwMode="auto">
            <a:xfrm flipH="1">
              <a:off x="4896" y="3407"/>
              <a:ext cx="464" cy="529"/>
              <a:chOff x="4464" y="3192"/>
              <a:chExt cx="464" cy="529"/>
            </a:xfrm>
          </p:grpSpPr>
          <p:sp>
            <p:nvSpPr>
              <p:cNvPr id="292" name="Freeform 244"/>
              <p:cNvSpPr>
                <a:spLocks/>
              </p:cNvSpPr>
              <p:nvPr/>
            </p:nvSpPr>
            <p:spPr bwMode="auto">
              <a:xfrm>
                <a:off x="4503" y="3192"/>
                <a:ext cx="129" cy="250"/>
              </a:xfrm>
              <a:custGeom>
                <a:avLst/>
                <a:gdLst>
                  <a:gd name="T0" fmla="*/ 0 w 258"/>
                  <a:gd name="T1" fmla="*/ 57 h 499"/>
                  <a:gd name="T2" fmla="*/ 8 w 258"/>
                  <a:gd name="T3" fmla="*/ 31 h 499"/>
                  <a:gd name="T4" fmla="*/ 21 w 258"/>
                  <a:gd name="T5" fmla="*/ 18 h 499"/>
                  <a:gd name="T6" fmla="*/ 39 w 258"/>
                  <a:gd name="T7" fmla="*/ 7 h 499"/>
                  <a:gd name="T8" fmla="*/ 69 w 258"/>
                  <a:gd name="T9" fmla="*/ 0 h 499"/>
                  <a:gd name="T10" fmla="*/ 98 w 258"/>
                  <a:gd name="T11" fmla="*/ 0 h 499"/>
                  <a:gd name="T12" fmla="*/ 121 w 258"/>
                  <a:gd name="T13" fmla="*/ 4 h 499"/>
                  <a:gd name="T14" fmla="*/ 146 w 258"/>
                  <a:gd name="T15" fmla="*/ 23 h 499"/>
                  <a:gd name="T16" fmla="*/ 170 w 258"/>
                  <a:gd name="T17" fmla="*/ 47 h 499"/>
                  <a:gd name="T18" fmla="*/ 197 w 258"/>
                  <a:gd name="T19" fmla="*/ 73 h 499"/>
                  <a:gd name="T20" fmla="*/ 218 w 258"/>
                  <a:gd name="T21" fmla="*/ 109 h 499"/>
                  <a:gd name="T22" fmla="*/ 238 w 258"/>
                  <a:gd name="T23" fmla="*/ 144 h 499"/>
                  <a:gd name="T24" fmla="*/ 249 w 258"/>
                  <a:gd name="T25" fmla="*/ 179 h 499"/>
                  <a:gd name="T26" fmla="*/ 256 w 258"/>
                  <a:gd name="T27" fmla="*/ 217 h 499"/>
                  <a:gd name="T28" fmla="*/ 258 w 258"/>
                  <a:gd name="T29" fmla="*/ 251 h 499"/>
                  <a:gd name="T30" fmla="*/ 258 w 258"/>
                  <a:gd name="T31" fmla="*/ 288 h 499"/>
                  <a:gd name="T32" fmla="*/ 255 w 258"/>
                  <a:gd name="T33" fmla="*/ 337 h 499"/>
                  <a:gd name="T34" fmla="*/ 249 w 258"/>
                  <a:gd name="T35" fmla="*/ 385 h 499"/>
                  <a:gd name="T36" fmla="*/ 238 w 258"/>
                  <a:gd name="T37" fmla="*/ 429 h 499"/>
                  <a:gd name="T38" fmla="*/ 222 w 258"/>
                  <a:gd name="T39" fmla="*/ 457 h 499"/>
                  <a:gd name="T40" fmla="*/ 203 w 258"/>
                  <a:gd name="T41" fmla="*/ 475 h 499"/>
                  <a:gd name="T42" fmla="*/ 177 w 258"/>
                  <a:gd name="T43" fmla="*/ 488 h 499"/>
                  <a:gd name="T44" fmla="*/ 153 w 258"/>
                  <a:gd name="T45" fmla="*/ 495 h 499"/>
                  <a:gd name="T46" fmla="*/ 125 w 258"/>
                  <a:gd name="T47" fmla="*/ 499 h 499"/>
                  <a:gd name="T48" fmla="*/ 95 w 258"/>
                  <a:gd name="T49" fmla="*/ 498 h 499"/>
                  <a:gd name="T50" fmla="*/ 73 w 258"/>
                  <a:gd name="T51" fmla="*/ 488 h 499"/>
                  <a:gd name="T52" fmla="*/ 53 w 258"/>
                  <a:gd name="T53" fmla="*/ 468 h 499"/>
                  <a:gd name="T54" fmla="*/ 42 w 258"/>
                  <a:gd name="T55" fmla="*/ 444 h 499"/>
                  <a:gd name="T56" fmla="*/ 33 w 258"/>
                  <a:gd name="T57" fmla="*/ 413 h 499"/>
                  <a:gd name="T58" fmla="*/ 26 w 258"/>
                  <a:gd name="T59" fmla="*/ 379 h 499"/>
                  <a:gd name="T60" fmla="*/ 33 w 258"/>
                  <a:gd name="T61" fmla="*/ 351 h 499"/>
                  <a:gd name="T62" fmla="*/ 42 w 258"/>
                  <a:gd name="T63" fmla="*/ 322 h 499"/>
                  <a:gd name="T64" fmla="*/ 56 w 258"/>
                  <a:gd name="T65" fmla="*/ 296 h 499"/>
                  <a:gd name="T66" fmla="*/ 67 w 258"/>
                  <a:gd name="T67" fmla="*/ 271 h 499"/>
                  <a:gd name="T68" fmla="*/ 69 w 258"/>
                  <a:gd name="T69" fmla="*/ 243 h 499"/>
                  <a:gd name="T70" fmla="*/ 66 w 258"/>
                  <a:gd name="T71" fmla="*/ 210 h 499"/>
                  <a:gd name="T72" fmla="*/ 53 w 258"/>
                  <a:gd name="T73" fmla="*/ 179 h 499"/>
                  <a:gd name="T74" fmla="*/ 39 w 258"/>
                  <a:gd name="T75" fmla="*/ 152 h 499"/>
                  <a:gd name="T76" fmla="*/ 17 w 258"/>
                  <a:gd name="T77" fmla="*/ 120 h 499"/>
                  <a:gd name="T78" fmla="*/ 9 w 258"/>
                  <a:gd name="T79" fmla="*/ 103 h 499"/>
                  <a:gd name="T80" fmla="*/ 2 w 258"/>
                  <a:gd name="T81" fmla="*/ 85 h 499"/>
                  <a:gd name="T82" fmla="*/ 0 w 258"/>
                  <a:gd name="T83" fmla="*/ 57 h 49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58"/>
                  <a:gd name="T127" fmla="*/ 0 h 499"/>
                  <a:gd name="T128" fmla="*/ 258 w 258"/>
                  <a:gd name="T129" fmla="*/ 499 h 499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58" h="499">
                    <a:moveTo>
                      <a:pt x="0" y="57"/>
                    </a:moveTo>
                    <a:lnTo>
                      <a:pt x="8" y="31"/>
                    </a:lnTo>
                    <a:lnTo>
                      <a:pt x="21" y="18"/>
                    </a:lnTo>
                    <a:lnTo>
                      <a:pt x="39" y="7"/>
                    </a:lnTo>
                    <a:lnTo>
                      <a:pt x="69" y="0"/>
                    </a:lnTo>
                    <a:lnTo>
                      <a:pt x="98" y="0"/>
                    </a:lnTo>
                    <a:lnTo>
                      <a:pt x="121" y="4"/>
                    </a:lnTo>
                    <a:lnTo>
                      <a:pt x="146" y="23"/>
                    </a:lnTo>
                    <a:lnTo>
                      <a:pt x="170" y="47"/>
                    </a:lnTo>
                    <a:lnTo>
                      <a:pt x="197" y="73"/>
                    </a:lnTo>
                    <a:lnTo>
                      <a:pt x="218" y="109"/>
                    </a:lnTo>
                    <a:lnTo>
                      <a:pt x="238" y="144"/>
                    </a:lnTo>
                    <a:lnTo>
                      <a:pt x="249" y="179"/>
                    </a:lnTo>
                    <a:lnTo>
                      <a:pt x="256" y="217"/>
                    </a:lnTo>
                    <a:lnTo>
                      <a:pt x="258" y="251"/>
                    </a:lnTo>
                    <a:lnTo>
                      <a:pt x="258" y="288"/>
                    </a:lnTo>
                    <a:lnTo>
                      <a:pt x="255" y="337"/>
                    </a:lnTo>
                    <a:lnTo>
                      <a:pt x="249" y="385"/>
                    </a:lnTo>
                    <a:lnTo>
                      <a:pt x="238" y="429"/>
                    </a:lnTo>
                    <a:lnTo>
                      <a:pt x="222" y="457"/>
                    </a:lnTo>
                    <a:lnTo>
                      <a:pt x="203" y="475"/>
                    </a:lnTo>
                    <a:lnTo>
                      <a:pt x="177" y="488"/>
                    </a:lnTo>
                    <a:lnTo>
                      <a:pt x="153" y="495"/>
                    </a:lnTo>
                    <a:lnTo>
                      <a:pt x="125" y="499"/>
                    </a:lnTo>
                    <a:lnTo>
                      <a:pt x="95" y="498"/>
                    </a:lnTo>
                    <a:lnTo>
                      <a:pt x="73" y="488"/>
                    </a:lnTo>
                    <a:lnTo>
                      <a:pt x="53" y="468"/>
                    </a:lnTo>
                    <a:lnTo>
                      <a:pt x="42" y="444"/>
                    </a:lnTo>
                    <a:lnTo>
                      <a:pt x="33" y="413"/>
                    </a:lnTo>
                    <a:lnTo>
                      <a:pt x="26" y="379"/>
                    </a:lnTo>
                    <a:lnTo>
                      <a:pt x="33" y="351"/>
                    </a:lnTo>
                    <a:lnTo>
                      <a:pt x="42" y="322"/>
                    </a:lnTo>
                    <a:lnTo>
                      <a:pt x="56" y="296"/>
                    </a:lnTo>
                    <a:lnTo>
                      <a:pt x="67" y="271"/>
                    </a:lnTo>
                    <a:lnTo>
                      <a:pt x="69" y="243"/>
                    </a:lnTo>
                    <a:lnTo>
                      <a:pt x="66" y="210"/>
                    </a:lnTo>
                    <a:lnTo>
                      <a:pt x="53" y="179"/>
                    </a:lnTo>
                    <a:lnTo>
                      <a:pt x="39" y="152"/>
                    </a:lnTo>
                    <a:lnTo>
                      <a:pt x="17" y="120"/>
                    </a:lnTo>
                    <a:lnTo>
                      <a:pt x="9" y="103"/>
                    </a:lnTo>
                    <a:lnTo>
                      <a:pt x="2" y="85"/>
                    </a:lnTo>
                    <a:lnTo>
                      <a:pt x="0" y="5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3" name="Freeform 245"/>
              <p:cNvSpPr>
                <a:spLocks/>
              </p:cNvSpPr>
              <p:nvPr/>
            </p:nvSpPr>
            <p:spPr bwMode="auto">
              <a:xfrm>
                <a:off x="4540" y="3218"/>
                <a:ext cx="388" cy="217"/>
              </a:xfrm>
              <a:custGeom>
                <a:avLst/>
                <a:gdLst>
                  <a:gd name="T0" fmla="*/ 65 w 775"/>
                  <a:gd name="T1" fmla="*/ 16 h 435"/>
                  <a:gd name="T2" fmla="*/ 35 w 775"/>
                  <a:gd name="T3" fmla="*/ 0 h 435"/>
                  <a:gd name="T4" fmla="*/ 13 w 775"/>
                  <a:gd name="T5" fmla="*/ 9 h 435"/>
                  <a:gd name="T6" fmla="*/ 0 w 775"/>
                  <a:gd name="T7" fmla="*/ 34 h 435"/>
                  <a:gd name="T8" fmla="*/ 8 w 775"/>
                  <a:gd name="T9" fmla="*/ 62 h 435"/>
                  <a:gd name="T10" fmla="*/ 11 w 775"/>
                  <a:gd name="T11" fmla="*/ 67 h 435"/>
                  <a:gd name="T12" fmla="*/ 30 w 775"/>
                  <a:gd name="T13" fmla="*/ 91 h 435"/>
                  <a:gd name="T14" fmla="*/ 76 w 775"/>
                  <a:gd name="T15" fmla="*/ 133 h 435"/>
                  <a:gd name="T16" fmla="*/ 131 w 775"/>
                  <a:gd name="T17" fmla="*/ 169 h 435"/>
                  <a:gd name="T18" fmla="*/ 196 w 775"/>
                  <a:gd name="T19" fmla="*/ 210 h 435"/>
                  <a:gd name="T20" fmla="*/ 265 w 775"/>
                  <a:gd name="T21" fmla="*/ 265 h 435"/>
                  <a:gd name="T22" fmla="*/ 321 w 775"/>
                  <a:gd name="T23" fmla="*/ 306 h 435"/>
                  <a:gd name="T24" fmla="*/ 376 w 775"/>
                  <a:gd name="T25" fmla="*/ 330 h 435"/>
                  <a:gd name="T26" fmla="*/ 413 w 775"/>
                  <a:gd name="T27" fmla="*/ 340 h 435"/>
                  <a:gd name="T28" fmla="*/ 490 w 775"/>
                  <a:gd name="T29" fmla="*/ 346 h 435"/>
                  <a:gd name="T30" fmla="*/ 557 w 775"/>
                  <a:gd name="T31" fmla="*/ 349 h 435"/>
                  <a:gd name="T32" fmla="*/ 600 w 775"/>
                  <a:gd name="T33" fmla="*/ 351 h 435"/>
                  <a:gd name="T34" fmla="*/ 641 w 775"/>
                  <a:gd name="T35" fmla="*/ 360 h 435"/>
                  <a:gd name="T36" fmla="*/ 667 w 775"/>
                  <a:gd name="T37" fmla="*/ 373 h 435"/>
                  <a:gd name="T38" fmla="*/ 688 w 775"/>
                  <a:gd name="T39" fmla="*/ 395 h 435"/>
                  <a:gd name="T40" fmla="*/ 705 w 775"/>
                  <a:gd name="T41" fmla="*/ 411 h 435"/>
                  <a:gd name="T42" fmla="*/ 724 w 775"/>
                  <a:gd name="T43" fmla="*/ 426 h 435"/>
                  <a:gd name="T44" fmla="*/ 737 w 775"/>
                  <a:gd name="T45" fmla="*/ 435 h 435"/>
                  <a:gd name="T46" fmla="*/ 750 w 775"/>
                  <a:gd name="T47" fmla="*/ 433 h 435"/>
                  <a:gd name="T48" fmla="*/ 755 w 775"/>
                  <a:gd name="T49" fmla="*/ 416 h 435"/>
                  <a:gd name="T50" fmla="*/ 751 w 775"/>
                  <a:gd name="T51" fmla="*/ 402 h 435"/>
                  <a:gd name="T52" fmla="*/ 730 w 775"/>
                  <a:gd name="T53" fmla="*/ 389 h 435"/>
                  <a:gd name="T54" fmla="*/ 698 w 775"/>
                  <a:gd name="T55" fmla="*/ 374 h 435"/>
                  <a:gd name="T56" fmla="*/ 685 w 775"/>
                  <a:gd name="T57" fmla="*/ 361 h 435"/>
                  <a:gd name="T58" fmla="*/ 691 w 775"/>
                  <a:gd name="T59" fmla="*/ 356 h 435"/>
                  <a:gd name="T60" fmla="*/ 706 w 775"/>
                  <a:gd name="T61" fmla="*/ 358 h 435"/>
                  <a:gd name="T62" fmla="*/ 739 w 775"/>
                  <a:gd name="T63" fmla="*/ 374 h 435"/>
                  <a:gd name="T64" fmla="*/ 761 w 775"/>
                  <a:gd name="T65" fmla="*/ 381 h 435"/>
                  <a:gd name="T66" fmla="*/ 774 w 775"/>
                  <a:gd name="T67" fmla="*/ 378 h 435"/>
                  <a:gd name="T68" fmla="*/ 775 w 775"/>
                  <a:gd name="T69" fmla="*/ 367 h 435"/>
                  <a:gd name="T70" fmla="*/ 768 w 775"/>
                  <a:gd name="T71" fmla="*/ 350 h 435"/>
                  <a:gd name="T72" fmla="*/ 746 w 775"/>
                  <a:gd name="T73" fmla="*/ 346 h 435"/>
                  <a:gd name="T74" fmla="*/ 708 w 775"/>
                  <a:gd name="T75" fmla="*/ 339 h 435"/>
                  <a:gd name="T76" fmla="*/ 700 w 775"/>
                  <a:gd name="T77" fmla="*/ 330 h 435"/>
                  <a:gd name="T78" fmla="*/ 702 w 775"/>
                  <a:gd name="T79" fmla="*/ 316 h 435"/>
                  <a:gd name="T80" fmla="*/ 719 w 775"/>
                  <a:gd name="T81" fmla="*/ 294 h 435"/>
                  <a:gd name="T82" fmla="*/ 729 w 775"/>
                  <a:gd name="T83" fmla="*/ 274 h 435"/>
                  <a:gd name="T84" fmla="*/ 724 w 775"/>
                  <a:gd name="T85" fmla="*/ 268 h 435"/>
                  <a:gd name="T86" fmla="*/ 713 w 775"/>
                  <a:gd name="T87" fmla="*/ 258 h 435"/>
                  <a:gd name="T88" fmla="*/ 708 w 775"/>
                  <a:gd name="T89" fmla="*/ 258 h 435"/>
                  <a:gd name="T90" fmla="*/ 700 w 775"/>
                  <a:gd name="T91" fmla="*/ 260 h 435"/>
                  <a:gd name="T92" fmla="*/ 689 w 775"/>
                  <a:gd name="T93" fmla="*/ 263 h 435"/>
                  <a:gd name="T94" fmla="*/ 682 w 775"/>
                  <a:gd name="T95" fmla="*/ 284 h 435"/>
                  <a:gd name="T96" fmla="*/ 675 w 775"/>
                  <a:gd name="T97" fmla="*/ 310 h 435"/>
                  <a:gd name="T98" fmla="*/ 664 w 775"/>
                  <a:gd name="T99" fmla="*/ 327 h 435"/>
                  <a:gd name="T100" fmla="*/ 647 w 775"/>
                  <a:gd name="T101" fmla="*/ 329 h 435"/>
                  <a:gd name="T102" fmla="*/ 596 w 775"/>
                  <a:gd name="T103" fmla="*/ 316 h 435"/>
                  <a:gd name="T104" fmla="*/ 540 w 775"/>
                  <a:gd name="T105" fmla="*/ 306 h 435"/>
                  <a:gd name="T106" fmla="*/ 478 w 775"/>
                  <a:gd name="T107" fmla="*/ 298 h 435"/>
                  <a:gd name="T108" fmla="*/ 412 w 775"/>
                  <a:gd name="T109" fmla="*/ 284 h 435"/>
                  <a:gd name="T110" fmla="*/ 372 w 775"/>
                  <a:gd name="T111" fmla="*/ 272 h 435"/>
                  <a:gd name="T112" fmla="*/ 333 w 775"/>
                  <a:gd name="T113" fmla="*/ 254 h 435"/>
                  <a:gd name="T114" fmla="*/ 273 w 775"/>
                  <a:gd name="T115" fmla="*/ 202 h 435"/>
                  <a:gd name="T116" fmla="*/ 225 w 775"/>
                  <a:gd name="T117" fmla="*/ 153 h 435"/>
                  <a:gd name="T118" fmla="*/ 192 w 775"/>
                  <a:gd name="T119" fmla="*/ 122 h 435"/>
                  <a:gd name="T120" fmla="*/ 147 w 775"/>
                  <a:gd name="T121" fmla="*/ 89 h 435"/>
                  <a:gd name="T122" fmla="*/ 86 w 775"/>
                  <a:gd name="T123" fmla="*/ 33 h 435"/>
                  <a:gd name="T124" fmla="*/ 65 w 775"/>
                  <a:gd name="T125" fmla="*/ 16 h 43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75"/>
                  <a:gd name="T190" fmla="*/ 0 h 435"/>
                  <a:gd name="T191" fmla="*/ 775 w 775"/>
                  <a:gd name="T192" fmla="*/ 435 h 43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75" h="435">
                    <a:moveTo>
                      <a:pt x="65" y="16"/>
                    </a:moveTo>
                    <a:lnTo>
                      <a:pt x="35" y="0"/>
                    </a:lnTo>
                    <a:lnTo>
                      <a:pt x="13" y="9"/>
                    </a:lnTo>
                    <a:lnTo>
                      <a:pt x="0" y="34"/>
                    </a:lnTo>
                    <a:lnTo>
                      <a:pt x="8" y="62"/>
                    </a:lnTo>
                    <a:lnTo>
                      <a:pt x="11" y="67"/>
                    </a:lnTo>
                    <a:lnTo>
                      <a:pt x="30" y="91"/>
                    </a:lnTo>
                    <a:lnTo>
                      <a:pt x="76" y="133"/>
                    </a:lnTo>
                    <a:lnTo>
                      <a:pt x="131" y="169"/>
                    </a:lnTo>
                    <a:lnTo>
                      <a:pt x="196" y="210"/>
                    </a:lnTo>
                    <a:lnTo>
                      <a:pt x="265" y="265"/>
                    </a:lnTo>
                    <a:lnTo>
                      <a:pt x="321" y="306"/>
                    </a:lnTo>
                    <a:lnTo>
                      <a:pt x="376" y="330"/>
                    </a:lnTo>
                    <a:lnTo>
                      <a:pt x="413" y="340"/>
                    </a:lnTo>
                    <a:lnTo>
                      <a:pt x="490" y="346"/>
                    </a:lnTo>
                    <a:lnTo>
                      <a:pt x="557" y="349"/>
                    </a:lnTo>
                    <a:lnTo>
                      <a:pt x="600" y="351"/>
                    </a:lnTo>
                    <a:lnTo>
                      <a:pt x="641" y="360"/>
                    </a:lnTo>
                    <a:lnTo>
                      <a:pt x="667" y="373"/>
                    </a:lnTo>
                    <a:lnTo>
                      <a:pt x="688" y="395"/>
                    </a:lnTo>
                    <a:lnTo>
                      <a:pt x="705" y="411"/>
                    </a:lnTo>
                    <a:lnTo>
                      <a:pt x="724" y="426"/>
                    </a:lnTo>
                    <a:lnTo>
                      <a:pt x="737" y="435"/>
                    </a:lnTo>
                    <a:lnTo>
                      <a:pt x="750" y="433"/>
                    </a:lnTo>
                    <a:lnTo>
                      <a:pt x="755" y="416"/>
                    </a:lnTo>
                    <a:lnTo>
                      <a:pt x="751" y="402"/>
                    </a:lnTo>
                    <a:lnTo>
                      <a:pt x="730" y="389"/>
                    </a:lnTo>
                    <a:lnTo>
                      <a:pt x="698" y="374"/>
                    </a:lnTo>
                    <a:lnTo>
                      <a:pt x="685" y="361"/>
                    </a:lnTo>
                    <a:lnTo>
                      <a:pt x="691" y="356"/>
                    </a:lnTo>
                    <a:lnTo>
                      <a:pt x="706" y="358"/>
                    </a:lnTo>
                    <a:lnTo>
                      <a:pt x="739" y="374"/>
                    </a:lnTo>
                    <a:lnTo>
                      <a:pt x="761" y="381"/>
                    </a:lnTo>
                    <a:lnTo>
                      <a:pt x="774" y="378"/>
                    </a:lnTo>
                    <a:lnTo>
                      <a:pt x="775" y="367"/>
                    </a:lnTo>
                    <a:lnTo>
                      <a:pt x="768" y="350"/>
                    </a:lnTo>
                    <a:lnTo>
                      <a:pt x="746" y="346"/>
                    </a:lnTo>
                    <a:lnTo>
                      <a:pt x="708" y="339"/>
                    </a:lnTo>
                    <a:lnTo>
                      <a:pt x="700" y="330"/>
                    </a:lnTo>
                    <a:lnTo>
                      <a:pt x="702" y="316"/>
                    </a:lnTo>
                    <a:lnTo>
                      <a:pt x="719" y="294"/>
                    </a:lnTo>
                    <a:lnTo>
                      <a:pt x="729" y="274"/>
                    </a:lnTo>
                    <a:lnTo>
                      <a:pt x="724" y="268"/>
                    </a:lnTo>
                    <a:lnTo>
                      <a:pt x="713" y="258"/>
                    </a:lnTo>
                    <a:lnTo>
                      <a:pt x="708" y="258"/>
                    </a:lnTo>
                    <a:lnTo>
                      <a:pt x="700" y="260"/>
                    </a:lnTo>
                    <a:lnTo>
                      <a:pt x="689" y="263"/>
                    </a:lnTo>
                    <a:lnTo>
                      <a:pt x="682" y="284"/>
                    </a:lnTo>
                    <a:lnTo>
                      <a:pt x="675" y="310"/>
                    </a:lnTo>
                    <a:lnTo>
                      <a:pt x="664" y="327"/>
                    </a:lnTo>
                    <a:lnTo>
                      <a:pt x="647" y="329"/>
                    </a:lnTo>
                    <a:lnTo>
                      <a:pt x="596" y="316"/>
                    </a:lnTo>
                    <a:lnTo>
                      <a:pt x="540" y="306"/>
                    </a:lnTo>
                    <a:lnTo>
                      <a:pt x="478" y="298"/>
                    </a:lnTo>
                    <a:lnTo>
                      <a:pt x="412" y="284"/>
                    </a:lnTo>
                    <a:lnTo>
                      <a:pt x="372" y="272"/>
                    </a:lnTo>
                    <a:lnTo>
                      <a:pt x="333" y="254"/>
                    </a:lnTo>
                    <a:lnTo>
                      <a:pt x="273" y="202"/>
                    </a:lnTo>
                    <a:lnTo>
                      <a:pt x="225" y="153"/>
                    </a:lnTo>
                    <a:lnTo>
                      <a:pt x="192" y="122"/>
                    </a:lnTo>
                    <a:lnTo>
                      <a:pt x="147" y="89"/>
                    </a:lnTo>
                    <a:lnTo>
                      <a:pt x="86" y="33"/>
                    </a:lnTo>
                    <a:lnTo>
                      <a:pt x="65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4" name="Freeform 246"/>
              <p:cNvSpPr>
                <a:spLocks/>
              </p:cNvSpPr>
              <p:nvPr/>
            </p:nvSpPr>
            <p:spPr bwMode="auto">
              <a:xfrm>
                <a:off x="4565" y="3398"/>
                <a:ext cx="118" cy="311"/>
              </a:xfrm>
              <a:custGeom>
                <a:avLst/>
                <a:gdLst>
                  <a:gd name="T0" fmla="*/ 27 w 237"/>
                  <a:gd name="T1" fmla="*/ 3 h 622"/>
                  <a:gd name="T2" fmla="*/ 55 w 237"/>
                  <a:gd name="T3" fmla="*/ 5 h 622"/>
                  <a:gd name="T4" fmla="*/ 76 w 237"/>
                  <a:gd name="T5" fmla="*/ 17 h 622"/>
                  <a:gd name="T6" fmla="*/ 88 w 237"/>
                  <a:gd name="T7" fmla="*/ 35 h 622"/>
                  <a:gd name="T8" fmla="*/ 110 w 237"/>
                  <a:gd name="T9" fmla="*/ 72 h 622"/>
                  <a:gd name="T10" fmla="*/ 140 w 237"/>
                  <a:gd name="T11" fmla="*/ 123 h 622"/>
                  <a:gd name="T12" fmla="*/ 160 w 237"/>
                  <a:gd name="T13" fmla="*/ 166 h 622"/>
                  <a:gd name="T14" fmla="*/ 178 w 237"/>
                  <a:gd name="T15" fmla="*/ 211 h 622"/>
                  <a:gd name="T16" fmla="*/ 188 w 237"/>
                  <a:gd name="T17" fmla="*/ 245 h 622"/>
                  <a:gd name="T18" fmla="*/ 189 w 237"/>
                  <a:gd name="T19" fmla="*/ 263 h 622"/>
                  <a:gd name="T20" fmla="*/ 191 w 237"/>
                  <a:gd name="T21" fmla="*/ 279 h 622"/>
                  <a:gd name="T22" fmla="*/ 186 w 237"/>
                  <a:gd name="T23" fmla="*/ 297 h 622"/>
                  <a:gd name="T24" fmla="*/ 176 w 237"/>
                  <a:gd name="T25" fmla="*/ 323 h 622"/>
                  <a:gd name="T26" fmla="*/ 154 w 237"/>
                  <a:gd name="T27" fmla="*/ 362 h 622"/>
                  <a:gd name="T28" fmla="*/ 126 w 237"/>
                  <a:gd name="T29" fmla="*/ 404 h 622"/>
                  <a:gd name="T30" fmla="*/ 103 w 237"/>
                  <a:gd name="T31" fmla="*/ 438 h 622"/>
                  <a:gd name="T32" fmla="*/ 92 w 237"/>
                  <a:gd name="T33" fmla="*/ 464 h 622"/>
                  <a:gd name="T34" fmla="*/ 78 w 237"/>
                  <a:gd name="T35" fmla="*/ 493 h 622"/>
                  <a:gd name="T36" fmla="*/ 75 w 237"/>
                  <a:gd name="T37" fmla="*/ 509 h 622"/>
                  <a:gd name="T38" fmla="*/ 82 w 237"/>
                  <a:gd name="T39" fmla="*/ 517 h 622"/>
                  <a:gd name="T40" fmla="*/ 107 w 237"/>
                  <a:gd name="T41" fmla="*/ 522 h 622"/>
                  <a:gd name="T42" fmla="*/ 150 w 237"/>
                  <a:gd name="T43" fmla="*/ 526 h 622"/>
                  <a:gd name="T44" fmla="*/ 184 w 237"/>
                  <a:gd name="T45" fmla="*/ 537 h 622"/>
                  <a:gd name="T46" fmla="*/ 216 w 237"/>
                  <a:gd name="T47" fmla="*/ 557 h 622"/>
                  <a:gd name="T48" fmla="*/ 233 w 237"/>
                  <a:gd name="T49" fmla="*/ 577 h 622"/>
                  <a:gd name="T50" fmla="*/ 237 w 237"/>
                  <a:gd name="T51" fmla="*/ 591 h 622"/>
                  <a:gd name="T52" fmla="*/ 237 w 237"/>
                  <a:gd name="T53" fmla="*/ 595 h 622"/>
                  <a:gd name="T54" fmla="*/ 233 w 237"/>
                  <a:gd name="T55" fmla="*/ 606 h 622"/>
                  <a:gd name="T56" fmla="*/ 219 w 237"/>
                  <a:gd name="T57" fmla="*/ 619 h 622"/>
                  <a:gd name="T58" fmla="*/ 199 w 237"/>
                  <a:gd name="T59" fmla="*/ 622 h 622"/>
                  <a:gd name="T60" fmla="*/ 172 w 237"/>
                  <a:gd name="T61" fmla="*/ 600 h 622"/>
                  <a:gd name="T62" fmla="*/ 161 w 237"/>
                  <a:gd name="T63" fmla="*/ 579 h 622"/>
                  <a:gd name="T64" fmla="*/ 140 w 237"/>
                  <a:gd name="T65" fmla="*/ 562 h 622"/>
                  <a:gd name="T66" fmla="*/ 114 w 237"/>
                  <a:gd name="T67" fmla="*/ 554 h 622"/>
                  <a:gd name="T68" fmla="*/ 72 w 237"/>
                  <a:gd name="T69" fmla="*/ 553 h 622"/>
                  <a:gd name="T70" fmla="*/ 40 w 237"/>
                  <a:gd name="T71" fmla="*/ 554 h 622"/>
                  <a:gd name="T72" fmla="*/ 21 w 237"/>
                  <a:gd name="T73" fmla="*/ 553 h 622"/>
                  <a:gd name="T74" fmla="*/ 7 w 237"/>
                  <a:gd name="T75" fmla="*/ 545 h 622"/>
                  <a:gd name="T76" fmla="*/ 4 w 237"/>
                  <a:gd name="T77" fmla="*/ 530 h 622"/>
                  <a:gd name="T78" fmla="*/ 4 w 237"/>
                  <a:gd name="T79" fmla="*/ 514 h 622"/>
                  <a:gd name="T80" fmla="*/ 13 w 237"/>
                  <a:gd name="T81" fmla="*/ 496 h 622"/>
                  <a:gd name="T82" fmla="*/ 36 w 237"/>
                  <a:gd name="T83" fmla="*/ 481 h 622"/>
                  <a:gd name="T84" fmla="*/ 55 w 237"/>
                  <a:gd name="T85" fmla="*/ 459 h 622"/>
                  <a:gd name="T86" fmla="*/ 74 w 237"/>
                  <a:gd name="T87" fmla="*/ 419 h 622"/>
                  <a:gd name="T88" fmla="*/ 86 w 237"/>
                  <a:gd name="T89" fmla="*/ 375 h 622"/>
                  <a:gd name="T90" fmla="*/ 99 w 237"/>
                  <a:gd name="T91" fmla="*/ 334 h 622"/>
                  <a:gd name="T92" fmla="*/ 114 w 237"/>
                  <a:gd name="T93" fmla="*/ 297 h 622"/>
                  <a:gd name="T94" fmla="*/ 123 w 237"/>
                  <a:gd name="T95" fmla="*/ 271 h 622"/>
                  <a:gd name="T96" fmla="*/ 121 w 237"/>
                  <a:gd name="T97" fmla="*/ 254 h 622"/>
                  <a:gd name="T98" fmla="*/ 114 w 237"/>
                  <a:gd name="T99" fmla="*/ 225 h 622"/>
                  <a:gd name="T100" fmla="*/ 83 w 237"/>
                  <a:gd name="T101" fmla="*/ 165 h 622"/>
                  <a:gd name="T102" fmla="*/ 47 w 237"/>
                  <a:gd name="T103" fmla="*/ 110 h 622"/>
                  <a:gd name="T104" fmla="*/ 14 w 237"/>
                  <a:gd name="T105" fmla="*/ 62 h 622"/>
                  <a:gd name="T106" fmla="*/ 3 w 237"/>
                  <a:gd name="T107" fmla="*/ 35 h 622"/>
                  <a:gd name="T108" fmla="*/ 0 w 237"/>
                  <a:gd name="T109" fmla="*/ 13 h 622"/>
                  <a:gd name="T110" fmla="*/ 16 w 237"/>
                  <a:gd name="T111" fmla="*/ 0 h 622"/>
                  <a:gd name="T112" fmla="*/ 27 w 237"/>
                  <a:gd name="T113" fmla="*/ 3 h 62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37"/>
                  <a:gd name="T172" fmla="*/ 0 h 622"/>
                  <a:gd name="T173" fmla="*/ 237 w 237"/>
                  <a:gd name="T174" fmla="*/ 622 h 62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37" h="622">
                    <a:moveTo>
                      <a:pt x="27" y="3"/>
                    </a:moveTo>
                    <a:lnTo>
                      <a:pt x="55" y="5"/>
                    </a:lnTo>
                    <a:lnTo>
                      <a:pt x="76" y="17"/>
                    </a:lnTo>
                    <a:lnTo>
                      <a:pt x="88" y="35"/>
                    </a:lnTo>
                    <a:lnTo>
                      <a:pt x="110" y="72"/>
                    </a:lnTo>
                    <a:lnTo>
                      <a:pt x="140" y="123"/>
                    </a:lnTo>
                    <a:lnTo>
                      <a:pt x="160" y="166"/>
                    </a:lnTo>
                    <a:lnTo>
                      <a:pt x="178" y="211"/>
                    </a:lnTo>
                    <a:lnTo>
                      <a:pt x="188" y="245"/>
                    </a:lnTo>
                    <a:lnTo>
                      <a:pt x="189" y="263"/>
                    </a:lnTo>
                    <a:lnTo>
                      <a:pt x="191" y="279"/>
                    </a:lnTo>
                    <a:lnTo>
                      <a:pt x="186" y="297"/>
                    </a:lnTo>
                    <a:lnTo>
                      <a:pt x="176" y="323"/>
                    </a:lnTo>
                    <a:lnTo>
                      <a:pt x="154" y="362"/>
                    </a:lnTo>
                    <a:lnTo>
                      <a:pt x="126" y="404"/>
                    </a:lnTo>
                    <a:lnTo>
                      <a:pt x="103" y="438"/>
                    </a:lnTo>
                    <a:lnTo>
                      <a:pt x="92" y="464"/>
                    </a:lnTo>
                    <a:lnTo>
                      <a:pt x="78" y="493"/>
                    </a:lnTo>
                    <a:lnTo>
                      <a:pt x="75" y="509"/>
                    </a:lnTo>
                    <a:lnTo>
                      <a:pt x="82" y="517"/>
                    </a:lnTo>
                    <a:lnTo>
                      <a:pt x="107" y="522"/>
                    </a:lnTo>
                    <a:lnTo>
                      <a:pt x="150" y="526"/>
                    </a:lnTo>
                    <a:lnTo>
                      <a:pt x="184" y="537"/>
                    </a:lnTo>
                    <a:lnTo>
                      <a:pt x="216" y="557"/>
                    </a:lnTo>
                    <a:lnTo>
                      <a:pt x="233" y="577"/>
                    </a:lnTo>
                    <a:lnTo>
                      <a:pt x="237" y="591"/>
                    </a:lnTo>
                    <a:lnTo>
                      <a:pt x="237" y="595"/>
                    </a:lnTo>
                    <a:lnTo>
                      <a:pt x="233" y="606"/>
                    </a:lnTo>
                    <a:lnTo>
                      <a:pt x="219" y="619"/>
                    </a:lnTo>
                    <a:lnTo>
                      <a:pt x="199" y="622"/>
                    </a:lnTo>
                    <a:lnTo>
                      <a:pt x="172" y="600"/>
                    </a:lnTo>
                    <a:lnTo>
                      <a:pt x="161" y="579"/>
                    </a:lnTo>
                    <a:lnTo>
                      <a:pt x="140" y="562"/>
                    </a:lnTo>
                    <a:lnTo>
                      <a:pt x="114" y="554"/>
                    </a:lnTo>
                    <a:lnTo>
                      <a:pt x="72" y="553"/>
                    </a:lnTo>
                    <a:lnTo>
                      <a:pt x="40" y="554"/>
                    </a:lnTo>
                    <a:lnTo>
                      <a:pt x="21" y="553"/>
                    </a:lnTo>
                    <a:lnTo>
                      <a:pt x="7" y="545"/>
                    </a:lnTo>
                    <a:lnTo>
                      <a:pt x="4" y="530"/>
                    </a:lnTo>
                    <a:lnTo>
                      <a:pt x="4" y="514"/>
                    </a:lnTo>
                    <a:lnTo>
                      <a:pt x="13" y="496"/>
                    </a:lnTo>
                    <a:lnTo>
                      <a:pt x="36" y="481"/>
                    </a:lnTo>
                    <a:lnTo>
                      <a:pt x="55" y="459"/>
                    </a:lnTo>
                    <a:lnTo>
                      <a:pt x="74" y="419"/>
                    </a:lnTo>
                    <a:lnTo>
                      <a:pt x="86" y="375"/>
                    </a:lnTo>
                    <a:lnTo>
                      <a:pt x="99" y="334"/>
                    </a:lnTo>
                    <a:lnTo>
                      <a:pt x="114" y="297"/>
                    </a:lnTo>
                    <a:lnTo>
                      <a:pt x="123" y="271"/>
                    </a:lnTo>
                    <a:lnTo>
                      <a:pt x="121" y="254"/>
                    </a:lnTo>
                    <a:lnTo>
                      <a:pt x="114" y="225"/>
                    </a:lnTo>
                    <a:lnTo>
                      <a:pt x="83" y="165"/>
                    </a:lnTo>
                    <a:lnTo>
                      <a:pt x="47" y="110"/>
                    </a:lnTo>
                    <a:lnTo>
                      <a:pt x="14" y="62"/>
                    </a:lnTo>
                    <a:lnTo>
                      <a:pt x="3" y="35"/>
                    </a:lnTo>
                    <a:lnTo>
                      <a:pt x="0" y="13"/>
                    </a:lnTo>
                    <a:lnTo>
                      <a:pt x="16" y="0"/>
                    </a:lnTo>
                    <a:lnTo>
                      <a:pt x="27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5" name="Freeform 247"/>
              <p:cNvSpPr>
                <a:spLocks/>
              </p:cNvSpPr>
              <p:nvPr/>
            </p:nvSpPr>
            <p:spPr bwMode="auto">
              <a:xfrm>
                <a:off x="4464" y="3394"/>
                <a:ext cx="123" cy="327"/>
              </a:xfrm>
              <a:custGeom>
                <a:avLst/>
                <a:gdLst>
                  <a:gd name="T0" fmla="*/ 184 w 246"/>
                  <a:gd name="T1" fmla="*/ 20 h 655"/>
                  <a:gd name="T2" fmla="*/ 207 w 246"/>
                  <a:gd name="T3" fmla="*/ 54 h 655"/>
                  <a:gd name="T4" fmla="*/ 214 w 246"/>
                  <a:gd name="T5" fmla="*/ 78 h 655"/>
                  <a:gd name="T6" fmla="*/ 231 w 246"/>
                  <a:gd name="T7" fmla="*/ 130 h 655"/>
                  <a:gd name="T8" fmla="*/ 241 w 246"/>
                  <a:gd name="T9" fmla="*/ 178 h 655"/>
                  <a:gd name="T10" fmla="*/ 246 w 246"/>
                  <a:gd name="T11" fmla="*/ 223 h 655"/>
                  <a:gd name="T12" fmla="*/ 246 w 246"/>
                  <a:gd name="T13" fmla="*/ 258 h 655"/>
                  <a:gd name="T14" fmla="*/ 244 w 246"/>
                  <a:gd name="T15" fmla="*/ 280 h 655"/>
                  <a:gd name="T16" fmla="*/ 238 w 246"/>
                  <a:gd name="T17" fmla="*/ 309 h 655"/>
                  <a:gd name="T18" fmla="*/ 224 w 246"/>
                  <a:gd name="T19" fmla="*/ 336 h 655"/>
                  <a:gd name="T20" fmla="*/ 208 w 246"/>
                  <a:gd name="T21" fmla="*/ 356 h 655"/>
                  <a:gd name="T22" fmla="*/ 186 w 246"/>
                  <a:gd name="T23" fmla="*/ 380 h 655"/>
                  <a:gd name="T24" fmla="*/ 155 w 246"/>
                  <a:gd name="T25" fmla="*/ 415 h 655"/>
                  <a:gd name="T26" fmla="*/ 120 w 246"/>
                  <a:gd name="T27" fmla="*/ 450 h 655"/>
                  <a:gd name="T28" fmla="*/ 87 w 246"/>
                  <a:gd name="T29" fmla="*/ 488 h 655"/>
                  <a:gd name="T30" fmla="*/ 70 w 246"/>
                  <a:gd name="T31" fmla="*/ 515 h 655"/>
                  <a:gd name="T32" fmla="*/ 66 w 246"/>
                  <a:gd name="T33" fmla="*/ 535 h 655"/>
                  <a:gd name="T34" fmla="*/ 63 w 246"/>
                  <a:gd name="T35" fmla="*/ 549 h 655"/>
                  <a:gd name="T36" fmla="*/ 67 w 246"/>
                  <a:gd name="T37" fmla="*/ 560 h 655"/>
                  <a:gd name="T38" fmla="*/ 79 w 246"/>
                  <a:gd name="T39" fmla="*/ 570 h 655"/>
                  <a:gd name="T40" fmla="*/ 94 w 246"/>
                  <a:gd name="T41" fmla="*/ 576 h 655"/>
                  <a:gd name="T42" fmla="*/ 132 w 246"/>
                  <a:gd name="T43" fmla="*/ 583 h 655"/>
                  <a:gd name="T44" fmla="*/ 179 w 246"/>
                  <a:gd name="T45" fmla="*/ 595 h 655"/>
                  <a:gd name="T46" fmla="*/ 214 w 246"/>
                  <a:gd name="T47" fmla="*/ 608 h 655"/>
                  <a:gd name="T48" fmla="*/ 222 w 246"/>
                  <a:gd name="T49" fmla="*/ 615 h 655"/>
                  <a:gd name="T50" fmla="*/ 221 w 246"/>
                  <a:gd name="T51" fmla="*/ 624 h 655"/>
                  <a:gd name="T52" fmla="*/ 220 w 246"/>
                  <a:gd name="T53" fmla="*/ 629 h 655"/>
                  <a:gd name="T54" fmla="*/ 205 w 246"/>
                  <a:gd name="T55" fmla="*/ 640 h 655"/>
                  <a:gd name="T56" fmla="*/ 166 w 246"/>
                  <a:gd name="T57" fmla="*/ 655 h 655"/>
                  <a:gd name="T58" fmla="*/ 146 w 246"/>
                  <a:gd name="T59" fmla="*/ 648 h 655"/>
                  <a:gd name="T60" fmla="*/ 131 w 246"/>
                  <a:gd name="T61" fmla="*/ 635 h 655"/>
                  <a:gd name="T62" fmla="*/ 100 w 246"/>
                  <a:gd name="T63" fmla="*/ 615 h 655"/>
                  <a:gd name="T64" fmla="*/ 74 w 246"/>
                  <a:gd name="T65" fmla="*/ 604 h 655"/>
                  <a:gd name="T66" fmla="*/ 46 w 246"/>
                  <a:gd name="T67" fmla="*/ 600 h 655"/>
                  <a:gd name="T68" fmla="*/ 41 w 246"/>
                  <a:gd name="T69" fmla="*/ 601 h 655"/>
                  <a:gd name="T70" fmla="*/ 15 w 246"/>
                  <a:gd name="T71" fmla="*/ 600 h 655"/>
                  <a:gd name="T72" fmla="*/ 0 w 246"/>
                  <a:gd name="T73" fmla="*/ 590 h 655"/>
                  <a:gd name="T74" fmla="*/ 3 w 246"/>
                  <a:gd name="T75" fmla="*/ 570 h 655"/>
                  <a:gd name="T76" fmla="*/ 4 w 246"/>
                  <a:gd name="T77" fmla="*/ 553 h 655"/>
                  <a:gd name="T78" fmla="*/ 17 w 246"/>
                  <a:gd name="T79" fmla="*/ 535 h 655"/>
                  <a:gd name="T80" fmla="*/ 31 w 246"/>
                  <a:gd name="T81" fmla="*/ 514 h 655"/>
                  <a:gd name="T82" fmla="*/ 49 w 246"/>
                  <a:gd name="T83" fmla="*/ 483 h 655"/>
                  <a:gd name="T84" fmla="*/ 67 w 246"/>
                  <a:gd name="T85" fmla="*/ 440 h 655"/>
                  <a:gd name="T86" fmla="*/ 83 w 246"/>
                  <a:gd name="T87" fmla="*/ 404 h 655"/>
                  <a:gd name="T88" fmla="*/ 105 w 246"/>
                  <a:gd name="T89" fmla="*/ 368 h 655"/>
                  <a:gd name="T90" fmla="*/ 131 w 246"/>
                  <a:gd name="T91" fmla="*/ 342 h 655"/>
                  <a:gd name="T92" fmla="*/ 160 w 246"/>
                  <a:gd name="T93" fmla="*/ 313 h 655"/>
                  <a:gd name="T94" fmla="*/ 180 w 246"/>
                  <a:gd name="T95" fmla="*/ 288 h 655"/>
                  <a:gd name="T96" fmla="*/ 187 w 246"/>
                  <a:gd name="T97" fmla="*/ 272 h 655"/>
                  <a:gd name="T98" fmla="*/ 190 w 246"/>
                  <a:gd name="T99" fmla="*/ 247 h 655"/>
                  <a:gd name="T100" fmla="*/ 173 w 246"/>
                  <a:gd name="T101" fmla="*/ 184 h 655"/>
                  <a:gd name="T102" fmla="*/ 155 w 246"/>
                  <a:gd name="T103" fmla="*/ 130 h 655"/>
                  <a:gd name="T104" fmla="*/ 141 w 246"/>
                  <a:gd name="T105" fmla="*/ 74 h 655"/>
                  <a:gd name="T106" fmla="*/ 134 w 246"/>
                  <a:gd name="T107" fmla="*/ 47 h 655"/>
                  <a:gd name="T108" fmla="*/ 131 w 246"/>
                  <a:gd name="T109" fmla="*/ 26 h 655"/>
                  <a:gd name="T110" fmla="*/ 142 w 246"/>
                  <a:gd name="T111" fmla="*/ 5 h 655"/>
                  <a:gd name="T112" fmla="*/ 159 w 246"/>
                  <a:gd name="T113" fmla="*/ 0 h 655"/>
                  <a:gd name="T114" fmla="*/ 176 w 246"/>
                  <a:gd name="T115" fmla="*/ 7 h 655"/>
                  <a:gd name="T116" fmla="*/ 184 w 246"/>
                  <a:gd name="T117" fmla="*/ 20 h 65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46"/>
                  <a:gd name="T178" fmla="*/ 0 h 655"/>
                  <a:gd name="T179" fmla="*/ 246 w 246"/>
                  <a:gd name="T180" fmla="*/ 655 h 65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46" h="655">
                    <a:moveTo>
                      <a:pt x="184" y="20"/>
                    </a:moveTo>
                    <a:lnTo>
                      <a:pt x="207" y="54"/>
                    </a:lnTo>
                    <a:lnTo>
                      <a:pt x="214" y="78"/>
                    </a:lnTo>
                    <a:lnTo>
                      <a:pt x="231" y="130"/>
                    </a:lnTo>
                    <a:lnTo>
                      <a:pt x="241" y="178"/>
                    </a:lnTo>
                    <a:lnTo>
                      <a:pt x="246" y="223"/>
                    </a:lnTo>
                    <a:lnTo>
                      <a:pt x="246" y="258"/>
                    </a:lnTo>
                    <a:lnTo>
                      <a:pt x="244" y="280"/>
                    </a:lnTo>
                    <a:lnTo>
                      <a:pt x="238" y="309"/>
                    </a:lnTo>
                    <a:lnTo>
                      <a:pt x="224" y="336"/>
                    </a:lnTo>
                    <a:lnTo>
                      <a:pt x="208" y="356"/>
                    </a:lnTo>
                    <a:lnTo>
                      <a:pt x="186" y="380"/>
                    </a:lnTo>
                    <a:lnTo>
                      <a:pt x="155" y="415"/>
                    </a:lnTo>
                    <a:lnTo>
                      <a:pt x="120" y="450"/>
                    </a:lnTo>
                    <a:lnTo>
                      <a:pt x="87" y="488"/>
                    </a:lnTo>
                    <a:lnTo>
                      <a:pt x="70" y="515"/>
                    </a:lnTo>
                    <a:lnTo>
                      <a:pt x="66" y="535"/>
                    </a:lnTo>
                    <a:lnTo>
                      <a:pt x="63" y="549"/>
                    </a:lnTo>
                    <a:lnTo>
                      <a:pt x="67" y="560"/>
                    </a:lnTo>
                    <a:lnTo>
                      <a:pt x="79" y="570"/>
                    </a:lnTo>
                    <a:lnTo>
                      <a:pt x="94" y="576"/>
                    </a:lnTo>
                    <a:lnTo>
                      <a:pt x="132" y="583"/>
                    </a:lnTo>
                    <a:lnTo>
                      <a:pt x="179" y="595"/>
                    </a:lnTo>
                    <a:lnTo>
                      <a:pt x="214" y="608"/>
                    </a:lnTo>
                    <a:lnTo>
                      <a:pt x="222" y="615"/>
                    </a:lnTo>
                    <a:lnTo>
                      <a:pt x="221" y="624"/>
                    </a:lnTo>
                    <a:lnTo>
                      <a:pt x="220" y="629"/>
                    </a:lnTo>
                    <a:lnTo>
                      <a:pt x="205" y="640"/>
                    </a:lnTo>
                    <a:lnTo>
                      <a:pt x="166" y="655"/>
                    </a:lnTo>
                    <a:lnTo>
                      <a:pt x="146" y="648"/>
                    </a:lnTo>
                    <a:lnTo>
                      <a:pt x="131" y="635"/>
                    </a:lnTo>
                    <a:lnTo>
                      <a:pt x="100" y="615"/>
                    </a:lnTo>
                    <a:lnTo>
                      <a:pt x="74" y="604"/>
                    </a:lnTo>
                    <a:lnTo>
                      <a:pt x="46" y="600"/>
                    </a:lnTo>
                    <a:lnTo>
                      <a:pt x="41" y="601"/>
                    </a:lnTo>
                    <a:lnTo>
                      <a:pt x="15" y="600"/>
                    </a:lnTo>
                    <a:lnTo>
                      <a:pt x="0" y="590"/>
                    </a:lnTo>
                    <a:lnTo>
                      <a:pt x="3" y="570"/>
                    </a:lnTo>
                    <a:lnTo>
                      <a:pt x="4" y="553"/>
                    </a:lnTo>
                    <a:lnTo>
                      <a:pt x="17" y="535"/>
                    </a:lnTo>
                    <a:lnTo>
                      <a:pt x="31" y="514"/>
                    </a:lnTo>
                    <a:lnTo>
                      <a:pt x="49" y="483"/>
                    </a:lnTo>
                    <a:lnTo>
                      <a:pt x="67" y="440"/>
                    </a:lnTo>
                    <a:lnTo>
                      <a:pt x="83" y="404"/>
                    </a:lnTo>
                    <a:lnTo>
                      <a:pt x="105" y="368"/>
                    </a:lnTo>
                    <a:lnTo>
                      <a:pt x="131" y="342"/>
                    </a:lnTo>
                    <a:lnTo>
                      <a:pt x="160" y="313"/>
                    </a:lnTo>
                    <a:lnTo>
                      <a:pt x="180" y="288"/>
                    </a:lnTo>
                    <a:lnTo>
                      <a:pt x="187" y="272"/>
                    </a:lnTo>
                    <a:lnTo>
                      <a:pt x="190" y="247"/>
                    </a:lnTo>
                    <a:lnTo>
                      <a:pt x="173" y="184"/>
                    </a:lnTo>
                    <a:lnTo>
                      <a:pt x="155" y="130"/>
                    </a:lnTo>
                    <a:lnTo>
                      <a:pt x="141" y="74"/>
                    </a:lnTo>
                    <a:lnTo>
                      <a:pt x="134" y="47"/>
                    </a:lnTo>
                    <a:lnTo>
                      <a:pt x="131" y="26"/>
                    </a:lnTo>
                    <a:lnTo>
                      <a:pt x="142" y="5"/>
                    </a:lnTo>
                    <a:lnTo>
                      <a:pt x="159" y="0"/>
                    </a:lnTo>
                    <a:lnTo>
                      <a:pt x="176" y="7"/>
                    </a:lnTo>
                    <a:lnTo>
                      <a:pt x="184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7" name="Group 262"/>
            <p:cNvGrpSpPr>
              <a:grpSpLocks/>
            </p:cNvGrpSpPr>
            <p:nvPr/>
          </p:nvGrpSpPr>
          <p:grpSpPr bwMode="auto">
            <a:xfrm flipH="1">
              <a:off x="3600" y="1008"/>
              <a:ext cx="380" cy="1008"/>
              <a:chOff x="3648" y="1008"/>
              <a:chExt cx="332" cy="1008"/>
            </a:xfrm>
          </p:grpSpPr>
          <p:grpSp>
            <p:nvGrpSpPr>
              <p:cNvPr id="28" name="Group 254"/>
              <p:cNvGrpSpPr>
                <a:grpSpLocks/>
              </p:cNvGrpSpPr>
              <p:nvPr/>
            </p:nvGrpSpPr>
            <p:grpSpPr bwMode="auto">
              <a:xfrm>
                <a:off x="3696" y="1008"/>
                <a:ext cx="181" cy="176"/>
                <a:chOff x="3696" y="1008"/>
                <a:chExt cx="181" cy="176"/>
              </a:xfrm>
            </p:grpSpPr>
            <p:sp>
              <p:nvSpPr>
                <p:cNvPr id="287" name="Freeform 249"/>
                <p:cNvSpPr>
                  <a:spLocks/>
                </p:cNvSpPr>
                <p:nvPr/>
              </p:nvSpPr>
              <p:spPr bwMode="auto">
                <a:xfrm>
                  <a:off x="3761" y="1076"/>
                  <a:ext cx="61" cy="108"/>
                </a:xfrm>
                <a:custGeom>
                  <a:avLst/>
                  <a:gdLst>
                    <a:gd name="T0" fmla="*/ 58 w 182"/>
                    <a:gd name="T1" fmla="*/ 294 h 324"/>
                    <a:gd name="T2" fmla="*/ 61 w 182"/>
                    <a:gd name="T3" fmla="*/ 241 h 324"/>
                    <a:gd name="T4" fmla="*/ 48 w 182"/>
                    <a:gd name="T5" fmla="*/ 201 h 324"/>
                    <a:gd name="T6" fmla="*/ 26 w 182"/>
                    <a:gd name="T7" fmla="*/ 167 h 324"/>
                    <a:gd name="T8" fmla="*/ 0 w 182"/>
                    <a:gd name="T9" fmla="*/ 114 h 324"/>
                    <a:gd name="T10" fmla="*/ 2 w 182"/>
                    <a:gd name="T11" fmla="*/ 80 h 324"/>
                    <a:gd name="T12" fmla="*/ 20 w 182"/>
                    <a:gd name="T13" fmla="*/ 37 h 324"/>
                    <a:gd name="T14" fmla="*/ 55 w 182"/>
                    <a:gd name="T15" fmla="*/ 9 h 324"/>
                    <a:gd name="T16" fmla="*/ 85 w 182"/>
                    <a:gd name="T17" fmla="*/ 0 h 324"/>
                    <a:gd name="T18" fmla="*/ 117 w 182"/>
                    <a:gd name="T19" fmla="*/ 6 h 324"/>
                    <a:gd name="T20" fmla="*/ 138 w 182"/>
                    <a:gd name="T21" fmla="*/ 19 h 324"/>
                    <a:gd name="T22" fmla="*/ 166 w 182"/>
                    <a:gd name="T23" fmla="*/ 43 h 324"/>
                    <a:gd name="T24" fmla="*/ 182 w 182"/>
                    <a:gd name="T25" fmla="*/ 80 h 324"/>
                    <a:gd name="T26" fmla="*/ 175 w 182"/>
                    <a:gd name="T27" fmla="*/ 118 h 324"/>
                    <a:gd name="T28" fmla="*/ 154 w 182"/>
                    <a:gd name="T29" fmla="*/ 151 h 324"/>
                    <a:gd name="T30" fmla="*/ 123 w 182"/>
                    <a:gd name="T31" fmla="*/ 203 h 324"/>
                    <a:gd name="T32" fmla="*/ 117 w 182"/>
                    <a:gd name="T33" fmla="*/ 241 h 324"/>
                    <a:gd name="T34" fmla="*/ 119 w 182"/>
                    <a:gd name="T35" fmla="*/ 272 h 324"/>
                    <a:gd name="T36" fmla="*/ 105 w 182"/>
                    <a:gd name="T37" fmla="*/ 302 h 324"/>
                    <a:gd name="T38" fmla="*/ 89 w 182"/>
                    <a:gd name="T39" fmla="*/ 324 h 324"/>
                    <a:gd name="T40" fmla="*/ 58 w 182"/>
                    <a:gd name="T41" fmla="*/ 294 h 32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324"/>
                    <a:gd name="T65" fmla="*/ 182 w 182"/>
                    <a:gd name="T66" fmla="*/ 324 h 32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324">
                      <a:moveTo>
                        <a:pt x="58" y="294"/>
                      </a:moveTo>
                      <a:lnTo>
                        <a:pt x="61" y="241"/>
                      </a:lnTo>
                      <a:lnTo>
                        <a:pt x="48" y="201"/>
                      </a:lnTo>
                      <a:lnTo>
                        <a:pt x="26" y="167"/>
                      </a:lnTo>
                      <a:lnTo>
                        <a:pt x="0" y="114"/>
                      </a:lnTo>
                      <a:lnTo>
                        <a:pt x="2" y="80"/>
                      </a:lnTo>
                      <a:lnTo>
                        <a:pt x="20" y="37"/>
                      </a:lnTo>
                      <a:lnTo>
                        <a:pt x="55" y="9"/>
                      </a:lnTo>
                      <a:lnTo>
                        <a:pt x="85" y="0"/>
                      </a:lnTo>
                      <a:lnTo>
                        <a:pt x="117" y="6"/>
                      </a:lnTo>
                      <a:lnTo>
                        <a:pt x="138" y="19"/>
                      </a:lnTo>
                      <a:lnTo>
                        <a:pt x="166" y="43"/>
                      </a:lnTo>
                      <a:lnTo>
                        <a:pt x="182" y="80"/>
                      </a:lnTo>
                      <a:lnTo>
                        <a:pt x="175" y="118"/>
                      </a:lnTo>
                      <a:lnTo>
                        <a:pt x="154" y="151"/>
                      </a:lnTo>
                      <a:lnTo>
                        <a:pt x="123" y="203"/>
                      </a:lnTo>
                      <a:lnTo>
                        <a:pt x="117" y="241"/>
                      </a:lnTo>
                      <a:lnTo>
                        <a:pt x="119" y="272"/>
                      </a:lnTo>
                      <a:lnTo>
                        <a:pt x="105" y="302"/>
                      </a:lnTo>
                      <a:lnTo>
                        <a:pt x="89" y="324"/>
                      </a:lnTo>
                      <a:lnTo>
                        <a:pt x="58" y="294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4763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8" name="Freeform 250"/>
                <p:cNvSpPr>
                  <a:spLocks/>
                </p:cNvSpPr>
                <p:nvPr/>
              </p:nvSpPr>
              <p:spPr bwMode="auto">
                <a:xfrm>
                  <a:off x="3696" y="1071"/>
                  <a:ext cx="44" cy="21"/>
                </a:xfrm>
                <a:custGeom>
                  <a:avLst/>
                  <a:gdLst>
                    <a:gd name="T0" fmla="*/ 133 w 133"/>
                    <a:gd name="T1" fmla="*/ 63 h 63"/>
                    <a:gd name="T2" fmla="*/ 22 w 133"/>
                    <a:gd name="T3" fmla="*/ 43 h 63"/>
                    <a:gd name="T4" fmla="*/ 0 w 133"/>
                    <a:gd name="T5" fmla="*/ 21 h 63"/>
                    <a:gd name="T6" fmla="*/ 9 w 133"/>
                    <a:gd name="T7" fmla="*/ 3 h 63"/>
                    <a:gd name="T8" fmla="*/ 34 w 133"/>
                    <a:gd name="T9" fmla="*/ 0 h 63"/>
                    <a:gd name="T10" fmla="*/ 133 w 133"/>
                    <a:gd name="T11" fmla="*/ 63 h 6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33"/>
                    <a:gd name="T19" fmla="*/ 0 h 63"/>
                    <a:gd name="T20" fmla="*/ 133 w 133"/>
                    <a:gd name="T21" fmla="*/ 63 h 6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33" h="63">
                      <a:moveTo>
                        <a:pt x="133" y="63"/>
                      </a:moveTo>
                      <a:lnTo>
                        <a:pt x="22" y="43"/>
                      </a:lnTo>
                      <a:lnTo>
                        <a:pt x="0" y="21"/>
                      </a:lnTo>
                      <a:lnTo>
                        <a:pt x="9" y="3"/>
                      </a:lnTo>
                      <a:lnTo>
                        <a:pt x="34" y="0"/>
                      </a:lnTo>
                      <a:lnTo>
                        <a:pt x="133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9" name="Freeform 251"/>
                <p:cNvSpPr>
                  <a:spLocks/>
                </p:cNvSpPr>
                <p:nvPr/>
              </p:nvSpPr>
              <p:spPr bwMode="auto">
                <a:xfrm>
                  <a:off x="3740" y="1017"/>
                  <a:ext cx="20" cy="34"/>
                </a:xfrm>
                <a:custGeom>
                  <a:avLst/>
                  <a:gdLst>
                    <a:gd name="T0" fmla="*/ 59 w 59"/>
                    <a:gd name="T1" fmla="*/ 102 h 102"/>
                    <a:gd name="T2" fmla="*/ 0 w 59"/>
                    <a:gd name="T3" fmla="*/ 38 h 102"/>
                    <a:gd name="T4" fmla="*/ 6 w 59"/>
                    <a:gd name="T5" fmla="*/ 9 h 102"/>
                    <a:gd name="T6" fmla="*/ 34 w 59"/>
                    <a:gd name="T7" fmla="*/ 0 h 102"/>
                    <a:gd name="T8" fmla="*/ 50 w 59"/>
                    <a:gd name="T9" fmla="*/ 19 h 102"/>
                    <a:gd name="T10" fmla="*/ 59 w 59"/>
                    <a:gd name="T11" fmla="*/ 102 h 10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9"/>
                    <a:gd name="T19" fmla="*/ 0 h 102"/>
                    <a:gd name="T20" fmla="*/ 59 w 59"/>
                    <a:gd name="T21" fmla="*/ 102 h 10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9" h="102">
                      <a:moveTo>
                        <a:pt x="59" y="102"/>
                      </a:moveTo>
                      <a:lnTo>
                        <a:pt x="0" y="38"/>
                      </a:lnTo>
                      <a:lnTo>
                        <a:pt x="6" y="9"/>
                      </a:lnTo>
                      <a:lnTo>
                        <a:pt x="34" y="0"/>
                      </a:lnTo>
                      <a:lnTo>
                        <a:pt x="50" y="19"/>
                      </a:lnTo>
                      <a:lnTo>
                        <a:pt x="59" y="10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0" name="Freeform 252"/>
                <p:cNvSpPr>
                  <a:spLocks/>
                </p:cNvSpPr>
                <p:nvPr/>
              </p:nvSpPr>
              <p:spPr bwMode="auto">
                <a:xfrm>
                  <a:off x="3803" y="1008"/>
                  <a:ext cx="16" cy="41"/>
                </a:xfrm>
                <a:custGeom>
                  <a:avLst/>
                  <a:gdLst>
                    <a:gd name="T0" fmla="*/ 8 w 50"/>
                    <a:gd name="T1" fmla="*/ 123 h 123"/>
                    <a:gd name="T2" fmla="*/ 0 w 50"/>
                    <a:gd name="T3" fmla="*/ 32 h 123"/>
                    <a:gd name="T4" fmla="*/ 27 w 50"/>
                    <a:gd name="T5" fmla="*/ 0 h 123"/>
                    <a:gd name="T6" fmla="*/ 50 w 50"/>
                    <a:gd name="T7" fmla="*/ 13 h 123"/>
                    <a:gd name="T8" fmla="*/ 47 w 50"/>
                    <a:gd name="T9" fmla="*/ 38 h 123"/>
                    <a:gd name="T10" fmla="*/ 8 w 50"/>
                    <a:gd name="T11" fmla="*/ 123 h 1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0"/>
                    <a:gd name="T19" fmla="*/ 0 h 123"/>
                    <a:gd name="T20" fmla="*/ 50 w 50"/>
                    <a:gd name="T21" fmla="*/ 123 h 12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0" h="123">
                      <a:moveTo>
                        <a:pt x="8" y="123"/>
                      </a:moveTo>
                      <a:lnTo>
                        <a:pt x="0" y="32"/>
                      </a:lnTo>
                      <a:lnTo>
                        <a:pt x="27" y="0"/>
                      </a:lnTo>
                      <a:lnTo>
                        <a:pt x="50" y="13"/>
                      </a:lnTo>
                      <a:lnTo>
                        <a:pt x="47" y="38"/>
                      </a:lnTo>
                      <a:lnTo>
                        <a:pt x="8" y="12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1" name="Freeform 253"/>
                <p:cNvSpPr>
                  <a:spLocks/>
                </p:cNvSpPr>
                <p:nvPr/>
              </p:nvSpPr>
              <p:spPr bwMode="auto">
                <a:xfrm>
                  <a:off x="3837" y="1039"/>
                  <a:ext cx="40" cy="26"/>
                </a:xfrm>
                <a:custGeom>
                  <a:avLst/>
                  <a:gdLst>
                    <a:gd name="T0" fmla="*/ 0 w 120"/>
                    <a:gd name="T1" fmla="*/ 77 h 77"/>
                    <a:gd name="T2" fmla="*/ 89 w 120"/>
                    <a:gd name="T3" fmla="*/ 0 h 77"/>
                    <a:gd name="T4" fmla="*/ 120 w 120"/>
                    <a:gd name="T5" fmla="*/ 15 h 77"/>
                    <a:gd name="T6" fmla="*/ 117 w 120"/>
                    <a:gd name="T7" fmla="*/ 40 h 77"/>
                    <a:gd name="T8" fmla="*/ 101 w 120"/>
                    <a:gd name="T9" fmla="*/ 53 h 77"/>
                    <a:gd name="T10" fmla="*/ 0 w 120"/>
                    <a:gd name="T11" fmla="*/ 77 h 7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0"/>
                    <a:gd name="T19" fmla="*/ 0 h 77"/>
                    <a:gd name="T20" fmla="*/ 120 w 120"/>
                    <a:gd name="T21" fmla="*/ 77 h 7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0" h="77">
                      <a:moveTo>
                        <a:pt x="0" y="77"/>
                      </a:moveTo>
                      <a:lnTo>
                        <a:pt x="89" y="0"/>
                      </a:lnTo>
                      <a:lnTo>
                        <a:pt x="120" y="15"/>
                      </a:lnTo>
                      <a:lnTo>
                        <a:pt x="117" y="40"/>
                      </a:lnTo>
                      <a:lnTo>
                        <a:pt x="101" y="53"/>
                      </a:lnTo>
                      <a:lnTo>
                        <a:pt x="0" y="7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29" name="Group 261"/>
              <p:cNvGrpSpPr>
                <a:grpSpLocks/>
              </p:cNvGrpSpPr>
              <p:nvPr/>
            </p:nvGrpSpPr>
            <p:grpSpPr bwMode="auto">
              <a:xfrm>
                <a:off x="3648" y="1067"/>
                <a:ext cx="332" cy="949"/>
                <a:chOff x="3648" y="1067"/>
                <a:chExt cx="332" cy="949"/>
              </a:xfrm>
            </p:grpSpPr>
            <p:sp>
              <p:nvSpPr>
                <p:cNvPr id="281" name="Freeform 255"/>
                <p:cNvSpPr>
                  <a:spLocks/>
                </p:cNvSpPr>
                <p:nvPr/>
              </p:nvSpPr>
              <p:spPr bwMode="auto">
                <a:xfrm>
                  <a:off x="3708" y="1224"/>
                  <a:ext cx="166" cy="165"/>
                </a:xfrm>
                <a:custGeom>
                  <a:avLst/>
                  <a:gdLst>
                    <a:gd name="T0" fmla="*/ 326 w 499"/>
                    <a:gd name="T1" fmla="*/ 143 h 495"/>
                    <a:gd name="T2" fmla="*/ 265 w 499"/>
                    <a:gd name="T3" fmla="*/ 50 h 495"/>
                    <a:gd name="T4" fmla="*/ 203 w 499"/>
                    <a:gd name="T5" fmla="*/ 0 h 495"/>
                    <a:gd name="T6" fmla="*/ 129 w 499"/>
                    <a:gd name="T7" fmla="*/ 0 h 495"/>
                    <a:gd name="T8" fmla="*/ 49 w 499"/>
                    <a:gd name="T9" fmla="*/ 32 h 495"/>
                    <a:gd name="T10" fmla="*/ 12 w 499"/>
                    <a:gd name="T11" fmla="*/ 87 h 495"/>
                    <a:gd name="T12" fmla="*/ 0 w 499"/>
                    <a:gd name="T13" fmla="*/ 161 h 495"/>
                    <a:gd name="T14" fmla="*/ 12 w 499"/>
                    <a:gd name="T15" fmla="*/ 260 h 495"/>
                    <a:gd name="T16" fmla="*/ 61 w 499"/>
                    <a:gd name="T17" fmla="*/ 371 h 495"/>
                    <a:gd name="T18" fmla="*/ 148 w 499"/>
                    <a:gd name="T19" fmla="*/ 446 h 495"/>
                    <a:gd name="T20" fmla="*/ 215 w 499"/>
                    <a:gd name="T21" fmla="*/ 483 h 495"/>
                    <a:gd name="T22" fmla="*/ 283 w 499"/>
                    <a:gd name="T23" fmla="*/ 495 h 495"/>
                    <a:gd name="T24" fmla="*/ 338 w 499"/>
                    <a:gd name="T25" fmla="*/ 477 h 495"/>
                    <a:gd name="T26" fmla="*/ 369 w 499"/>
                    <a:gd name="T27" fmla="*/ 446 h 495"/>
                    <a:gd name="T28" fmla="*/ 388 w 499"/>
                    <a:gd name="T29" fmla="*/ 371 h 495"/>
                    <a:gd name="T30" fmla="*/ 382 w 499"/>
                    <a:gd name="T31" fmla="*/ 285 h 495"/>
                    <a:gd name="T32" fmla="*/ 363 w 499"/>
                    <a:gd name="T33" fmla="*/ 211 h 495"/>
                    <a:gd name="T34" fmla="*/ 486 w 499"/>
                    <a:gd name="T35" fmla="*/ 143 h 495"/>
                    <a:gd name="T36" fmla="*/ 499 w 499"/>
                    <a:gd name="T37" fmla="*/ 112 h 495"/>
                    <a:gd name="T38" fmla="*/ 486 w 499"/>
                    <a:gd name="T39" fmla="*/ 99 h 495"/>
                    <a:gd name="T40" fmla="*/ 350 w 499"/>
                    <a:gd name="T41" fmla="*/ 180 h 495"/>
                    <a:gd name="T42" fmla="*/ 326 w 499"/>
                    <a:gd name="T43" fmla="*/ 143 h 49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99"/>
                    <a:gd name="T67" fmla="*/ 0 h 495"/>
                    <a:gd name="T68" fmla="*/ 499 w 499"/>
                    <a:gd name="T69" fmla="*/ 495 h 49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99" h="495">
                      <a:moveTo>
                        <a:pt x="326" y="143"/>
                      </a:moveTo>
                      <a:lnTo>
                        <a:pt x="265" y="50"/>
                      </a:lnTo>
                      <a:lnTo>
                        <a:pt x="203" y="0"/>
                      </a:lnTo>
                      <a:lnTo>
                        <a:pt x="129" y="0"/>
                      </a:lnTo>
                      <a:lnTo>
                        <a:pt x="49" y="32"/>
                      </a:lnTo>
                      <a:lnTo>
                        <a:pt x="12" y="87"/>
                      </a:lnTo>
                      <a:lnTo>
                        <a:pt x="0" y="161"/>
                      </a:lnTo>
                      <a:lnTo>
                        <a:pt x="12" y="260"/>
                      </a:lnTo>
                      <a:lnTo>
                        <a:pt x="61" y="371"/>
                      </a:lnTo>
                      <a:lnTo>
                        <a:pt x="148" y="446"/>
                      </a:lnTo>
                      <a:lnTo>
                        <a:pt x="215" y="483"/>
                      </a:lnTo>
                      <a:lnTo>
                        <a:pt x="283" y="495"/>
                      </a:lnTo>
                      <a:lnTo>
                        <a:pt x="338" y="477"/>
                      </a:lnTo>
                      <a:lnTo>
                        <a:pt x="369" y="446"/>
                      </a:lnTo>
                      <a:lnTo>
                        <a:pt x="388" y="371"/>
                      </a:lnTo>
                      <a:lnTo>
                        <a:pt x="382" y="285"/>
                      </a:lnTo>
                      <a:lnTo>
                        <a:pt x="363" y="211"/>
                      </a:lnTo>
                      <a:lnTo>
                        <a:pt x="486" y="143"/>
                      </a:lnTo>
                      <a:lnTo>
                        <a:pt x="499" y="112"/>
                      </a:lnTo>
                      <a:lnTo>
                        <a:pt x="486" y="99"/>
                      </a:lnTo>
                      <a:lnTo>
                        <a:pt x="350" y="180"/>
                      </a:lnTo>
                      <a:lnTo>
                        <a:pt x="326" y="1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2" name="Freeform 256"/>
                <p:cNvSpPr>
                  <a:spLocks/>
                </p:cNvSpPr>
                <p:nvPr/>
              </p:nvSpPr>
              <p:spPr bwMode="auto">
                <a:xfrm>
                  <a:off x="3827" y="1067"/>
                  <a:ext cx="149" cy="369"/>
                </a:xfrm>
                <a:custGeom>
                  <a:avLst/>
                  <a:gdLst>
                    <a:gd name="T0" fmla="*/ 123 w 445"/>
                    <a:gd name="T1" fmla="*/ 934 h 1107"/>
                    <a:gd name="T2" fmla="*/ 42 w 445"/>
                    <a:gd name="T3" fmla="*/ 995 h 1107"/>
                    <a:gd name="T4" fmla="*/ 18 w 445"/>
                    <a:gd name="T5" fmla="*/ 1015 h 1107"/>
                    <a:gd name="T6" fmla="*/ 0 w 445"/>
                    <a:gd name="T7" fmla="*/ 1058 h 1107"/>
                    <a:gd name="T8" fmla="*/ 24 w 445"/>
                    <a:gd name="T9" fmla="*/ 1101 h 1107"/>
                    <a:gd name="T10" fmla="*/ 49 w 445"/>
                    <a:gd name="T11" fmla="*/ 1107 h 1107"/>
                    <a:gd name="T12" fmla="*/ 123 w 445"/>
                    <a:gd name="T13" fmla="*/ 1082 h 1107"/>
                    <a:gd name="T14" fmla="*/ 234 w 445"/>
                    <a:gd name="T15" fmla="*/ 995 h 1107"/>
                    <a:gd name="T16" fmla="*/ 333 w 445"/>
                    <a:gd name="T17" fmla="*/ 892 h 1107"/>
                    <a:gd name="T18" fmla="*/ 438 w 445"/>
                    <a:gd name="T19" fmla="*/ 773 h 1107"/>
                    <a:gd name="T20" fmla="*/ 445 w 445"/>
                    <a:gd name="T21" fmla="*/ 724 h 1107"/>
                    <a:gd name="T22" fmla="*/ 445 w 445"/>
                    <a:gd name="T23" fmla="*/ 588 h 1107"/>
                    <a:gd name="T24" fmla="*/ 414 w 445"/>
                    <a:gd name="T25" fmla="*/ 378 h 1107"/>
                    <a:gd name="T26" fmla="*/ 432 w 445"/>
                    <a:gd name="T27" fmla="*/ 255 h 1107"/>
                    <a:gd name="T28" fmla="*/ 445 w 445"/>
                    <a:gd name="T29" fmla="*/ 205 h 1107"/>
                    <a:gd name="T30" fmla="*/ 426 w 445"/>
                    <a:gd name="T31" fmla="*/ 180 h 1107"/>
                    <a:gd name="T32" fmla="*/ 382 w 445"/>
                    <a:gd name="T33" fmla="*/ 156 h 1107"/>
                    <a:gd name="T34" fmla="*/ 352 w 445"/>
                    <a:gd name="T35" fmla="*/ 137 h 1107"/>
                    <a:gd name="T36" fmla="*/ 370 w 445"/>
                    <a:gd name="T37" fmla="*/ 26 h 1107"/>
                    <a:gd name="T38" fmla="*/ 358 w 445"/>
                    <a:gd name="T39" fmla="*/ 0 h 1107"/>
                    <a:gd name="T40" fmla="*/ 333 w 445"/>
                    <a:gd name="T41" fmla="*/ 8 h 1107"/>
                    <a:gd name="T42" fmla="*/ 321 w 445"/>
                    <a:gd name="T43" fmla="*/ 150 h 1107"/>
                    <a:gd name="T44" fmla="*/ 309 w 445"/>
                    <a:gd name="T45" fmla="*/ 186 h 1107"/>
                    <a:gd name="T46" fmla="*/ 303 w 445"/>
                    <a:gd name="T47" fmla="*/ 211 h 1107"/>
                    <a:gd name="T48" fmla="*/ 253 w 445"/>
                    <a:gd name="T49" fmla="*/ 192 h 1107"/>
                    <a:gd name="T50" fmla="*/ 216 w 445"/>
                    <a:gd name="T51" fmla="*/ 192 h 1107"/>
                    <a:gd name="T52" fmla="*/ 216 w 445"/>
                    <a:gd name="T53" fmla="*/ 217 h 1107"/>
                    <a:gd name="T54" fmla="*/ 240 w 445"/>
                    <a:gd name="T55" fmla="*/ 236 h 1107"/>
                    <a:gd name="T56" fmla="*/ 284 w 445"/>
                    <a:gd name="T57" fmla="*/ 236 h 1107"/>
                    <a:gd name="T58" fmla="*/ 315 w 445"/>
                    <a:gd name="T59" fmla="*/ 261 h 1107"/>
                    <a:gd name="T60" fmla="*/ 339 w 445"/>
                    <a:gd name="T61" fmla="*/ 304 h 1107"/>
                    <a:gd name="T62" fmla="*/ 364 w 445"/>
                    <a:gd name="T63" fmla="*/ 372 h 1107"/>
                    <a:gd name="T64" fmla="*/ 382 w 445"/>
                    <a:gd name="T65" fmla="*/ 508 h 1107"/>
                    <a:gd name="T66" fmla="*/ 382 w 445"/>
                    <a:gd name="T67" fmla="*/ 631 h 1107"/>
                    <a:gd name="T68" fmla="*/ 370 w 445"/>
                    <a:gd name="T69" fmla="*/ 730 h 1107"/>
                    <a:gd name="T70" fmla="*/ 346 w 445"/>
                    <a:gd name="T71" fmla="*/ 773 h 1107"/>
                    <a:gd name="T72" fmla="*/ 259 w 445"/>
                    <a:gd name="T73" fmla="*/ 835 h 1107"/>
                    <a:gd name="T74" fmla="*/ 166 w 445"/>
                    <a:gd name="T75" fmla="*/ 892 h 1107"/>
                    <a:gd name="T76" fmla="*/ 123 w 445"/>
                    <a:gd name="T77" fmla="*/ 934 h 1107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445"/>
                    <a:gd name="T118" fmla="*/ 0 h 1107"/>
                    <a:gd name="T119" fmla="*/ 445 w 445"/>
                    <a:gd name="T120" fmla="*/ 1107 h 1107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445" h="1107">
                      <a:moveTo>
                        <a:pt x="123" y="934"/>
                      </a:moveTo>
                      <a:lnTo>
                        <a:pt x="42" y="995"/>
                      </a:lnTo>
                      <a:lnTo>
                        <a:pt x="18" y="1015"/>
                      </a:lnTo>
                      <a:lnTo>
                        <a:pt x="0" y="1058"/>
                      </a:lnTo>
                      <a:lnTo>
                        <a:pt x="24" y="1101"/>
                      </a:lnTo>
                      <a:lnTo>
                        <a:pt x="49" y="1107"/>
                      </a:lnTo>
                      <a:lnTo>
                        <a:pt x="123" y="1082"/>
                      </a:lnTo>
                      <a:lnTo>
                        <a:pt x="234" y="995"/>
                      </a:lnTo>
                      <a:lnTo>
                        <a:pt x="333" y="892"/>
                      </a:lnTo>
                      <a:lnTo>
                        <a:pt x="438" y="773"/>
                      </a:lnTo>
                      <a:lnTo>
                        <a:pt x="445" y="724"/>
                      </a:lnTo>
                      <a:lnTo>
                        <a:pt x="445" y="588"/>
                      </a:lnTo>
                      <a:lnTo>
                        <a:pt x="414" y="378"/>
                      </a:lnTo>
                      <a:lnTo>
                        <a:pt x="432" y="255"/>
                      </a:lnTo>
                      <a:lnTo>
                        <a:pt x="445" y="205"/>
                      </a:lnTo>
                      <a:lnTo>
                        <a:pt x="426" y="180"/>
                      </a:lnTo>
                      <a:lnTo>
                        <a:pt x="382" y="156"/>
                      </a:lnTo>
                      <a:lnTo>
                        <a:pt x="352" y="137"/>
                      </a:lnTo>
                      <a:lnTo>
                        <a:pt x="370" y="26"/>
                      </a:lnTo>
                      <a:lnTo>
                        <a:pt x="358" y="0"/>
                      </a:lnTo>
                      <a:lnTo>
                        <a:pt x="333" y="8"/>
                      </a:lnTo>
                      <a:lnTo>
                        <a:pt x="321" y="150"/>
                      </a:lnTo>
                      <a:lnTo>
                        <a:pt x="309" y="186"/>
                      </a:lnTo>
                      <a:lnTo>
                        <a:pt x="303" y="211"/>
                      </a:lnTo>
                      <a:lnTo>
                        <a:pt x="253" y="192"/>
                      </a:lnTo>
                      <a:lnTo>
                        <a:pt x="216" y="192"/>
                      </a:lnTo>
                      <a:lnTo>
                        <a:pt x="216" y="217"/>
                      </a:lnTo>
                      <a:lnTo>
                        <a:pt x="240" y="236"/>
                      </a:lnTo>
                      <a:lnTo>
                        <a:pt x="284" y="236"/>
                      </a:lnTo>
                      <a:lnTo>
                        <a:pt x="315" y="261"/>
                      </a:lnTo>
                      <a:lnTo>
                        <a:pt x="339" y="304"/>
                      </a:lnTo>
                      <a:lnTo>
                        <a:pt x="364" y="372"/>
                      </a:lnTo>
                      <a:lnTo>
                        <a:pt x="382" y="508"/>
                      </a:lnTo>
                      <a:lnTo>
                        <a:pt x="382" y="631"/>
                      </a:lnTo>
                      <a:lnTo>
                        <a:pt x="370" y="730"/>
                      </a:lnTo>
                      <a:lnTo>
                        <a:pt x="346" y="773"/>
                      </a:lnTo>
                      <a:lnTo>
                        <a:pt x="259" y="835"/>
                      </a:lnTo>
                      <a:lnTo>
                        <a:pt x="166" y="892"/>
                      </a:lnTo>
                      <a:lnTo>
                        <a:pt x="123" y="9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3" name="Freeform 257"/>
                <p:cNvSpPr>
                  <a:spLocks/>
                </p:cNvSpPr>
                <p:nvPr/>
              </p:nvSpPr>
              <p:spPr bwMode="auto">
                <a:xfrm>
                  <a:off x="3648" y="1408"/>
                  <a:ext cx="134" cy="222"/>
                </a:xfrm>
                <a:custGeom>
                  <a:avLst/>
                  <a:gdLst>
                    <a:gd name="T0" fmla="*/ 402 w 402"/>
                    <a:gd name="T1" fmla="*/ 18 h 667"/>
                    <a:gd name="T2" fmla="*/ 358 w 402"/>
                    <a:gd name="T3" fmla="*/ 0 h 667"/>
                    <a:gd name="T4" fmla="*/ 265 w 402"/>
                    <a:gd name="T5" fmla="*/ 6 h 667"/>
                    <a:gd name="T6" fmla="*/ 185 w 402"/>
                    <a:gd name="T7" fmla="*/ 69 h 667"/>
                    <a:gd name="T8" fmla="*/ 67 w 402"/>
                    <a:gd name="T9" fmla="*/ 198 h 667"/>
                    <a:gd name="T10" fmla="*/ 6 w 402"/>
                    <a:gd name="T11" fmla="*/ 303 h 667"/>
                    <a:gd name="T12" fmla="*/ 0 w 402"/>
                    <a:gd name="T13" fmla="*/ 340 h 667"/>
                    <a:gd name="T14" fmla="*/ 31 w 402"/>
                    <a:gd name="T15" fmla="*/ 408 h 667"/>
                    <a:gd name="T16" fmla="*/ 98 w 402"/>
                    <a:gd name="T17" fmla="*/ 439 h 667"/>
                    <a:gd name="T18" fmla="*/ 185 w 402"/>
                    <a:gd name="T19" fmla="*/ 476 h 667"/>
                    <a:gd name="T20" fmla="*/ 253 w 402"/>
                    <a:gd name="T21" fmla="*/ 494 h 667"/>
                    <a:gd name="T22" fmla="*/ 284 w 402"/>
                    <a:gd name="T23" fmla="*/ 526 h 667"/>
                    <a:gd name="T24" fmla="*/ 265 w 402"/>
                    <a:gd name="T25" fmla="*/ 568 h 667"/>
                    <a:gd name="T26" fmla="*/ 216 w 402"/>
                    <a:gd name="T27" fmla="*/ 619 h 667"/>
                    <a:gd name="T28" fmla="*/ 154 w 402"/>
                    <a:gd name="T29" fmla="*/ 625 h 667"/>
                    <a:gd name="T30" fmla="*/ 111 w 402"/>
                    <a:gd name="T31" fmla="*/ 605 h 667"/>
                    <a:gd name="T32" fmla="*/ 86 w 402"/>
                    <a:gd name="T33" fmla="*/ 625 h 667"/>
                    <a:gd name="T34" fmla="*/ 92 w 402"/>
                    <a:gd name="T35" fmla="*/ 649 h 667"/>
                    <a:gd name="T36" fmla="*/ 142 w 402"/>
                    <a:gd name="T37" fmla="*/ 667 h 667"/>
                    <a:gd name="T38" fmla="*/ 216 w 402"/>
                    <a:gd name="T39" fmla="*/ 667 h 667"/>
                    <a:gd name="T40" fmla="*/ 284 w 402"/>
                    <a:gd name="T41" fmla="*/ 649 h 667"/>
                    <a:gd name="T42" fmla="*/ 321 w 402"/>
                    <a:gd name="T43" fmla="*/ 625 h 667"/>
                    <a:gd name="T44" fmla="*/ 346 w 402"/>
                    <a:gd name="T45" fmla="*/ 581 h 667"/>
                    <a:gd name="T46" fmla="*/ 358 w 402"/>
                    <a:gd name="T47" fmla="*/ 532 h 667"/>
                    <a:gd name="T48" fmla="*/ 328 w 402"/>
                    <a:gd name="T49" fmla="*/ 488 h 667"/>
                    <a:gd name="T50" fmla="*/ 253 w 402"/>
                    <a:gd name="T51" fmla="*/ 457 h 667"/>
                    <a:gd name="T52" fmla="*/ 166 w 402"/>
                    <a:gd name="T53" fmla="*/ 433 h 667"/>
                    <a:gd name="T54" fmla="*/ 92 w 402"/>
                    <a:gd name="T55" fmla="*/ 390 h 667"/>
                    <a:gd name="T56" fmla="*/ 73 w 402"/>
                    <a:gd name="T57" fmla="*/ 352 h 667"/>
                    <a:gd name="T58" fmla="*/ 86 w 402"/>
                    <a:gd name="T59" fmla="*/ 285 h 667"/>
                    <a:gd name="T60" fmla="*/ 142 w 402"/>
                    <a:gd name="T61" fmla="*/ 198 h 667"/>
                    <a:gd name="T62" fmla="*/ 210 w 402"/>
                    <a:gd name="T63" fmla="*/ 148 h 667"/>
                    <a:gd name="T64" fmla="*/ 315 w 402"/>
                    <a:gd name="T65" fmla="*/ 111 h 667"/>
                    <a:gd name="T66" fmla="*/ 402 w 402"/>
                    <a:gd name="T67" fmla="*/ 93 h 667"/>
                    <a:gd name="T68" fmla="*/ 402 w 402"/>
                    <a:gd name="T69" fmla="*/ 43 h 667"/>
                    <a:gd name="T70" fmla="*/ 402 w 402"/>
                    <a:gd name="T71" fmla="*/ 18 h 66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402"/>
                    <a:gd name="T109" fmla="*/ 0 h 667"/>
                    <a:gd name="T110" fmla="*/ 402 w 402"/>
                    <a:gd name="T111" fmla="*/ 667 h 66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402" h="667">
                      <a:moveTo>
                        <a:pt x="402" y="18"/>
                      </a:moveTo>
                      <a:lnTo>
                        <a:pt x="358" y="0"/>
                      </a:lnTo>
                      <a:lnTo>
                        <a:pt x="265" y="6"/>
                      </a:lnTo>
                      <a:lnTo>
                        <a:pt x="185" y="69"/>
                      </a:lnTo>
                      <a:lnTo>
                        <a:pt x="67" y="198"/>
                      </a:lnTo>
                      <a:lnTo>
                        <a:pt x="6" y="303"/>
                      </a:lnTo>
                      <a:lnTo>
                        <a:pt x="0" y="340"/>
                      </a:lnTo>
                      <a:lnTo>
                        <a:pt x="31" y="408"/>
                      </a:lnTo>
                      <a:lnTo>
                        <a:pt x="98" y="439"/>
                      </a:lnTo>
                      <a:lnTo>
                        <a:pt x="185" y="476"/>
                      </a:lnTo>
                      <a:lnTo>
                        <a:pt x="253" y="494"/>
                      </a:lnTo>
                      <a:lnTo>
                        <a:pt x="284" y="526"/>
                      </a:lnTo>
                      <a:lnTo>
                        <a:pt x="265" y="568"/>
                      </a:lnTo>
                      <a:lnTo>
                        <a:pt x="216" y="619"/>
                      </a:lnTo>
                      <a:lnTo>
                        <a:pt x="154" y="625"/>
                      </a:lnTo>
                      <a:lnTo>
                        <a:pt x="111" y="605"/>
                      </a:lnTo>
                      <a:lnTo>
                        <a:pt x="86" y="625"/>
                      </a:lnTo>
                      <a:lnTo>
                        <a:pt x="92" y="649"/>
                      </a:lnTo>
                      <a:lnTo>
                        <a:pt x="142" y="667"/>
                      </a:lnTo>
                      <a:lnTo>
                        <a:pt x="216" y="667"/>
                      </a:lnTo>
                      <a:lnTo>
                        <a:pt x="284" y="649"/>
                      </a:lnTo>
                      <a:lnTo>
                        <a:pt x="321" y="625"/>
                      </a:lnTo>
                      <a:lnTo>
                        <a:pt x="346" y="581"/>
                      </a:lnTo>
                      <a:lnTo>
                        <a:pt x="358" y="532"/>
                      </a:lnTo>
                      <a:lnTo>
                        <a:pt x="328" y="488"/>
                      </a:lnTo>
                      <a:lnTo>
                        <a:pt x="253" y="457"/>
                      </a:lnTo>
                      <a:lnTo>
                        <a:pt x="166" y="433"/>
                      </a:lnTo>
                      <a:lnTo>
                        <a:pt x="92" y="390"/>
                      </a:lnTo>
                      <a:lnTo>
                        <a:pt x="73" y="352"/>
                      </a:lnTo>
                      <a:lnTo>
                        <a:pt x="86" y="285"/>
                      </a:lnTo>
                      <a:lnTo>
                        <a:pt x="142" y="198"/>
                      </a:lnTo>
                      <a:lnTo>
                        <a:pt x="210" y="148"/>
                      </a:lnTo>
                      <a:lnTo>
                        <a:pt x="315" y="111"/>
                      </a:lnTo>
                      <a:lnTo>
                        <a:pt x="402" y="93"/>
                      </a:lnTo>
                      <a:lnTo>
                        <a:pt x="402" y="43"/>
                      </a:lnTo>
                      <a:lnTo>
                        <a:pt x="402" y="1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4" name="Freeform 258"/>
                <p:cNvSpPr>
                  <a:spLocks/>
                </p:cNvSpPr>
                <p:nvPr/>
              </p:nvSpPr>
              <p:spPr bwMode="auto">
                <a:xfrm>
                  <a:off x="3757" y="1398"/>
                  <a:ext cx="126" cy="273"/>
                </a:xfrm>
                <a:custGeom>
                  <a:avLst/>
                  <a:gdLst>
                    <a:gd name="T0" fmla="*/ 327 w 376"/>
                    <a:gd name="T1" fmla="*/ 259 h 821"/>
                    <a:gd name="T2" fmla="*/ 289 w 376"/>
                    <a:gd name="T3" fmla="*/ 105 h 821"/>
                    <a:gd name="T4" fmla="*/ 246 w 376"/>
                    <a:gd name="T5" fmla="*/ 30 h 821"/>
                    <a:gd name="T6" fmla="*/ 154 w 376"/>
                    <a:gd name="T7" fmla="*/ 0 h 821"/>
                    <a:gd name="T8" fmla="*/ 61 w 376"/>
                    <a:gd name="T9" fmla="*/ 12 h 821"/>
                    <a:gd name="T10" fmla="*/ 18 w 376"/>
                    <a:gd name="T11" fmla="*/ 92 h 821"/>
                    <a:gd name="T12" fmla="*/ 24 w 376"/>
                    <a:gd name="T13" fmla="*/ 191 h 821"/>
                    <a:gd name="T14" fmla="*/ 48 w 376"/>
                    <a:gd name="T15" fmla="*/ 352 h 821"/>
                    <a:gd name="T16" fmla="*/ 48 w 376"/>
                    <a:gd name="T17" fmla="*/ 493 h 821"/>
                    <a:gd name="T18" fmla="*/ 18 w 376"/>
                    <a:gd name="T19" fmla="*/ 617 h 821"/>
                    <a:gd name="T20" fmla="*/ 0 w 376"/>
                    <a:gd name="T21" fmla="*/ 685 h 821"/>
                    <a:gd name="T22" fmla="*/ 12 w 376"/>
                    <a:gd name="T23" fmla="*/ 746 h 821"/>
                    <a:gd name="T24" fmla="*/ 55 w 376"/>
                    <a:gd name="T25" fmla="*/ 778 h 821"/>
                    <a:gd name="T26" fmla="*/ 111 w 376"/>
                    <a:gd name="T27" fmla="*/ 809 h 821"/>
                    <a:gd name="T28" fmla="*/ 166 w 376"/>
                    <a:gd name="T29" fmla="*/ 821 h 821"/>
                    <a:gd name="T30" fmla="*/ 234 w 376"/>
                    <a:gd name="T31" fmla="*/ 821 h 821"/>
                    <a:gd name="T32" fmla="*/ 315 w 376"/>
                    <a:gd name="T33" fmla="*/ 759 h 821"/>
                    <a:gd name="T34" fmla="*/ 376 w 376"/>
                    <a:gd name="T35" fmla="*/ 629 h 821"/>
                    <a:gd name="T36" fmla="*/ 370 w 376"/>
                    <a:gd name="T37" fmla="*/ 512 h 821"/>
                    <a:gd name="T38" fmla="*/ 333 w 376"/>
                    <a:gd name="T39" fmla="*/ 376 h 821"/>
                    <a:gd name="T40" fmla="*/ 327 w 376"/>
                    <a:gd name="T41" fmla="*/ 259 h 82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76"/>
                    <a:gd name="T64" fmla="*/ 0 h 821"/>
                    <a:gd name="T65" fmla="*/ 376 w 376"/>
                    <a:gd name="T66" fmla="*/ 821 h 82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76" h="821">
                      <a:moveTo>
                        <a:pt x="327" y="259"/>
                      </a:moveTo>
                      <a:lnTo>
                        <a:pt x="289" y="105"/>
                      </a:lnTo>
                      <a:lnTo>
                        <a:pt x="246" y="30"/>
                      </a:lnTo>
                      <a:lnTo>
                        <a:pt x="154" y="0"/>
                      </a:lnTo>
                      <a:lnTo>
                        <a:pt x="61" y="12"/>
                      </a:lnTo>
                      <a:lnTo>
                        <a:pt x="18" y="92"/>
                      </a:lnTo>
                      <a:lnTo>
                        <a:pt x="24" y="191"/>
                      </a:lnTo>
                      <a:lnTo>
                        <a:pt x="48" y="352"/>
                      </a:lnTo>
                      <a:lnTo>
                        <a:pt x="48" y="493"/>
                      </a:lnTo>
                      <a:lnTo>
                        <a:pt x="18" y="617"/>
                      </a:lnTo>
                      <a:lnTo>
                        <a:pt x="0" y="685"/>
                      </a:lnTo>
                      <a:lnTo>
                        <a:pt x="12" y="746"/>
                      </a:lnTo>
                      <a:lnTo>
                        <a:pt x="55" y="778"/>
                      </a:lnTo>
                      <a:lnTo>
                        <a:pt x="111" y="809"/>
                      </a:lnTo>
                      <a:lnTo>
                        <a:pt x="166" y="821"/>
                      </a:lnTo>
                      <a:lnTo>
                        <a:pt x="234" y="821"/>
                      </a:lnTo>
                      <a:lnTo>
                        <a:pt x="315" y="759"/>
                      </a:lnTo>
                      <a:lnTo>
                        <a:pt x="376" y="629"/>
                      </a:lnTo>
                      <a:lnTo>
                        <a:pt x="370" y="512"/>
                      </a:lnTo>
                      <a:lnTo>
                        <a:pt x="333" y="376"/>
                      </a:lnTo>
                      <a:lnTo>
                        <a:pt x="327" y="25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5" name="Freeform 259"/>
                <p:cNvSpPr>
                  <a:spLocks/>
                </p:cNvSpPr>
                <p:nvPr/>
              </p:nvSpPr>
              <p:spPr bwMode="auto">
                <a:xfrm>
                  <a:off x="3720" y="1620"/>
                  <a:ext cx="95" cy="396"/>
                </a:xfrm>
                <a:custGeom>
                  <a:avLst/>
                  <a:gdLst>
                    <a:gd name="T0" fmla="*/ 273 w 286"/>
                    <a:gd name="T1" fmla="*/ 18 h 1187"/>
                    <a:gd name="T2" fmla="*/ 199 w 286"/>
                    <a:gd name="T3" fmla="*/ 0 h 1187"/>
                    <a:gd name="T4" fmla="*/ 155 w 286"/>
                    <a:gd name="T5" fmla="*/ 18 h 1187"/>
                    <a:gd name="T6" fmla="*/ 137 w 286"/>
                    <a:gd name="T7" fmla="*/ 79 h 1187"/>
                    <a:gd name="T8" fmla="*/ 155 w 286"/>
                    <a:gd name="T9" fmla="*/ 419 h 1187"/>
                    <a:gd name="T10" fmla="*/ 155 w 286"/>
                    <a:gd name="T11" fmla="*/ 500 h 1187"/>
                    <a:gd name="T12" fmla="*/ 131 w 286"/>
                    <a:gd name="T13" fmla="*/ 649 h 1187"/>
                    <a:gd name="T14" fmla="*/ 125 w 286"/>
                    <a:gd name="T15" fmla="*/ 821 h 1187"/>
                    <a:gd name="T16" fmla="*/ 137 w 286"/>
                    <a:gd name="T17" fmla="*/ 908 h 1187"/>
                    <a:gd name="T18" fmla="*/ 125 w 286"/>
                    <a:gd name="T19" fmla="*/ 957 h 1187"/>
                    <a:gd name="T20" fmla="*/ 38 w 286"/>
                    <a:gd name="T21" fmla="*/ 1032 h 1187"/>
                    <a:gd name="T22" fmla="*/ 0 w 286"/>
                    <a:gd name="T23" fmla="*/ 1124 h 1187"/>
                    <a:gd name="T24" fmla="*/ 7 w 286"/>
                    <a:gd name="T25" fmla="*/ 1155 h 1187"/>
                    <a:gd name="T26" fmla="*/ 75 w 286"/>
                    <a:gd name="T27" fmla="*/ 1187 h 1187"/>
                    <a:gd name="T28" fmla="*/ 93 w 286"/>
                    <a:gd name="T29" fmla="*/ 1173 h 1187"/>
                    <a:gd name="T30" fmla="*/ 100 w 286"/>
                    <a:gd name="T31" fmla="*/ 1118 h 1187"/>
                    <a:gd name="T32" fmla="*/ 119 w 286"/>
                    <a:gd name="T33" fmla="*/ 1038 h 1187"/>
                    <a:gd name="T34" fmla="*/ 149 w 286"/>
                    <a:gd name="T35" fmla="*/ 1001 h 1187"/>
                    <a:gd name="T36" fmla="*/ 186 w 286"/>
                    <a:gd name="T37" fmla="*/ 977 h 1187"/>
                    <a:gd name="T38" fmla="*/ 218 w 286"/>
                    <a:gd name="T39" fmla="*/ 945 h 1187"/>
                    <a:gd name="T40" fmla="*/ 224 w 286"/>
                    <a:gd name="T41" fmla="*/ 920 h 1187"/>
                    <a:gd name="T42" fmla="*/ 205 w 286"/>
                    <a:gd name="T43" fmla="*/ 890 h 1187"/>
                    <a:gd name="T44" fmla="*/ 186 w 286"/>
                    <a:gd name="T45" fmla="*/ 871 h 1187"/>
                    <a:gd name="T46" fmla="*/ 174 w 286"/>
                    <a:gd name="T47" fmla="*/ 797 h 1187"/>
                    <a:gd name="T48" fmla="*/ 186 w 286"/>
                    <a:gd name="T49" fmla="*/ 642 h 1187"/>
                    <a:gd name="T50" fmla="*/ 230 w 286"/>
                    <a:gd name="T51" fmla="*/ 463 h 1187"/>
                    <a:gd name="T52" fmla="*/ 273 w 286"/>
                    <a:gd name="T53" fmla="*/ 320 h 1187"/>
                    <a:gd name="T54" fmla="*/ 286 w 286"/>
                    <a:gd name="T55" fmla="*/ 148 h 1187"/>
                    <a:gd name="T56" fmla="*/ 273 w 286"/>
                    <a:gd name="T57" fmla="*/ 18 h 118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6"/>
                    <a:gd name="T88" fmla="*/ 0 h 1187"/>
                    <a:gd name="T89" fmla="*/ 286 w 286"/>
                    <a:gd name="T90" fmla="*/ 1187 h 118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6" h="1187">
                      <a:moveTo>
                        <a:pt x="273" y="18"/>
                      </a:moveTo>
                      <a:lnTo>
                        <a:pt x="199" y="0"/>
                      </a:lnTo>
                      <a:lnTo>
                        <a:pt x="155" y="18"/>
                      </a:lnTo>
                      <a:lnTo>
                        <a:pt x="137" y="79"/>
                      </a:lnTo>
                      <a:lnTo>
                        <a:pt x="155" y="419"/>
                      </a:lnTo>
                      <a:lnTo>
                        <a:pt x="155" y="500"/>
                      </a:lnTo>
                      <a:lnTo>
                        <a:pt x="131" y="649"/>
                      </a:lnTo>
                      <a:lnTo>
                        <a:pt x="125" y="821"/>
                      </a:lnTo>
                      <a:lnTo>
                        <a:pt x="137" y="908"/>
                      </a:lnTo>
                      <a:lnTo>
                        <a:pt x="125" y="957"/>
                      </a:lnTo>
                      <a:lnTo>
                        <a:pt x="38" y="1032"/>
                      </a:lnTo>
                      <a:lnTo>
                        <a:pt x="0" y="1124"/>
                      </a:lnTo>
                      <a:lnTo>
                        <a:pt x="7" y="1155"/>
                      </a:lnTo>
                      <a:lnTo>
                        <a:pt x="75" y="1187"/>
                      </a:lnTo>
                      <a:lnTo>
                        <a:pt x="93" y="1173"/>
                      </a:lnTo>
                      <a:lnTo>
                        <a:pt x="100" y="1118"/>
                      </a:lnTo>
                      <a:lnTo>
                        <a:pt x="119" y="1038"/>
                      </a:lnTo>
                      <a:lnTo>
                        <a:pt x="149" y="1001"/>
                      </a:lnTo>
                      <a:lnTo>
                        <a:pt x="186" y="977"/>
                      </a:lnTo>
                      <a:lnTo>
                        <a:pt x="218" y="945"/>
                      </a:lnTo>
                      <a:lnTo>
                        <a:pt x="224" y="920"/>
                      </a:lnTo>
                      <a:lnTo>
                        <a:pt x="205" y="890"/>
                      </a:lnTo>
                      <a:lnTo>
                        <a:pt x="186" y="871"/>
                      </a:lnTo>
                      <a:lnTo>
                        <a:pt x="174" y="797"/>
                      </a:lnTo>
                      <a:lnTo>
                        <a:pt x="186" y="642"/>
                      </a:lnTo>
                      <a:lnTo>
                        <a:pt x="230" y="463"/>
                      </a:lnTo>
                      <a:lnTo>
                        <a:pt x="273" y="320"/>
                      </a:lnTo>
                      <a:lnTo>
                        <a:pt x="286" y="148"/>
                      </a:lnTo>
                      <a:lnTo>
                        <a:pt x="273" y="1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6" name="Freeform 260"/>
                <p:cNvSpPr>
                  <a:spLocks/>
                </p:cNvSpPr>
                <p:nvPr/>
              </p:nvSpPr>
              <p:spPr bwMode="auto">
                <a:xfrm>
                  <a:off x="3823" y="1620"/>
                  <a:ext cx="157" cy="334"/>
                </a:xfrm>
                <a:custGeom>
                  <a:avLst/>
                  <a:gdLst>
                    <a:gd name="T0" fmla="*/ 154 w 470"/>
                    <a:gd name="T1" fmla="*/ 148 h 1001"/>
                    <a:gd name="T2" fmla="*/ 142 w 470"/>
                    <a:gd name="T3" fmla="*/ 49 h 1001"/>
                    <a:gd name="T4" fmla="*/ 87 w 470"/>
                    <a:gd name="T5" fmla="*/ 0 h 1001"/>
                    <a:gd name="T6" fmla="*/ 7 w 470"/>
                    <a:gd name="T7" fmla="*/ 6 h 1001"/>
                    <a:gd name="T8" fmla="*/ 0 w 470"/>
                    <a:gd name="T9" fmla="*/ 49 h 1001"/>
                    <a:gd name="T10" fmla="*/ 7 w 470"/>
                    <a:gd name="T11" fmla="*/ 142 h 1001"/>
                    <a:gd name="T12" fmla="*/ 49 w 470"/>
                    <a:gd name="T13" fmla="*/ 283 h 1001"/>
                    <a:gd name="T14" fmla="*/ 81 w 470"/>
                    <a:gd name="T15" fmla="*/ 389 h 1001"/>
                    <a:gd name="T16" fmla="*/ 118 w 470"/>
                    <a:gd name="T17" fmla="*/ 530 h 1001"/>
                    <a:gd name="T18" fmla="*/ 130 w 470"/>
                    <a:gd name="T19" fmla="*/ 654 h 1001"/>
                    <a:gd name="T20" fmla="*/ 130 w 470"/>
                    <a:gd name="T21" fmla="*/ 753 h 1001"/>
                    <a:gd name="T22" fmla="*/ 112 w 470"/>
                    <a:gd name="T23" fmla="*/ 827 h 1001"/>
                    <a:gd name="T24" fmla="*/ 93 w 470"/>
                    <a:gd name="T25" fmla="*/ 852 h 1001"/>
                    <a:gd name="T26" fmla="*/ 93 w 470"/>
                    <a:gd name="T27" fmla="*/ 876 h 1001"/>
                    <a:gd name="T28" fmla="*/ 118 w 470"/>
                    <a:gd name="T29" fmla="*/ 914 h 1001"/>
                    <a:gd name="T30" fmla="*/ 161 w 470"/>
                    <a:gd name="T31" fmla="*/ 926 h 1001"/>
                    <a:gd name="T32" fmla="*/ 229 w 470"/>
                    <a:gd name="T33" fmla="*/ 926 h 1001"/>
                    <a:gd name="T34" fmla="*/ 352 w 470"/>
                    <a:gd name="T35" fmla="*/ 957 h 1001"/>
                    <a:gd name="T36" fmla="*/ 389 w 470"/>
                    <a:gd name="T37" fmla="*/ 1001 h 1001"/>
                    <a:gd name="T38" fmla="*/ 445 w 470"/>
                    <a:gd name="T39" fmla="*/ 975 h 1001"/>
                    <a:gd name="T40" fmla="*/ 470 w 470"/>
                    <a:gd name="T41" fmla="*/ 914 h 1001"/>
                    <a:gd name="T42" fmla="*/ 445 w 470"/>
                    <a:gd name="T43" fmla="*/ 890 h 1001"/>
                    <a:gd name="T44" fmla="*/ 340 w 470"/>
                    <a:gd name="T45" fmla="*/ 876 h 1001"/>
                    <a:gd name="T46" fmla="*/ 223 w 470"/>
                    <a:gd name="T47" fmla="*/ 876 h 1001"/>
                    <a:gd name="T48" fmla="*/ 173 w 470"/>
                    <a:gd name="T49" fmla="*/ 870 h 1001"/>
                    <a:gd name="T50" fmla="*/ 161 w 470"/>
                    <a:gd name="T51" fmla="*/ 834 h 1001"/>
                    <a:gd name="T52" fmla="*/ 173 w 470"/>
                    <a:gd name="T53" fmla="*/ 765 h 1001"/>
                    <a:gd name="T54" fmla="*/ 180 w 470"/>
                    <a:gd name="T55" fmla="*/ 648 h 1001"/>
                    <a:gd name="T56" fmla="*/ 167 w 470"/>
                    <a:gd name="T57" fmla="*/ 518 h 1001"/>
                    <a:gd name="T58" fmla="*/ 148 w 470"/>
                    <a:gd name="T59" fmla="*/ 346 h 1001"/>
                    <a:gd name="T60" fmla="*/ 154 w 470"/>
                    <a:gd name="T61" fmla="*/ 197 h 1001"/>
                    <a:gd name="T62" fmla="*/ 154 w 470"/>
                    <a:gd name="T63" fmla="*/ 148 h 100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70"/>
                    <a:gd name="T97" fmla="*/ 0 h 1001"/>
                    <a:gd name="T98" fmla="*/ 470 w 470"/>
                    <a:gd name="T99" fmla="*/ 1001 h 100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70" h="1001">
                      <a:moveTo>
                        <a:pt x="154" y="148"/>
                      </a:moveTo>
                      <a:lnTo>
                        <a:pt x="142" y="49"/>
                      </a:lnTo>
                      <a:lnTo>
                        <a:pt x="87" y="0"/>
                      </a:lnTo>
                      <a:lnTo>
                        <a:pt x="7" y="6"/>
                      </a:lnTo>
                      <a:lnTo>
                        <a:pt x="0" y="49"/>
                      </a:lnTo>
                      <a:lnTo>
                        <a:pt x="7" y="142"/>
                      </a:lnTo>
                      <a:lnTo>
                        <a:pt x="49" y="283"/>
                      </a:lnTo>
                      <a:lnTo>
                        <a:pt x="81" y="389"/>
                      </a:lnTo>
                      <a:lnTo>
                        <a:pt x="118" y="530"/>
                      </a:lnTo>
                      <a:lnTo>
                        <a:pt x="130" y="654"/>
                      </a:lnTo>
                      <a:lnTo>
                        <a:pt x="130" y="753"/>
                      </a:lnTo>
                      <a:lnTo>
                        <a:pt x="112" y="827"/>
                      </a:lnTo>
                      <a:lnTo>
                        <a:pt x="93" y="852"/>
                      </a:lnTo>
                      <a:lnTo>
                        <a:pt x="93" y="876"/>
                      </a:lnTo>
                      <a:lnTo>
                        <a:pt x="118" y="914"/>
                      </a:lnTo>
                      <a:lnTo>
                        <a:pt x="161" y="926"/>
                      </a:lnTo>
                      <a:lnTo>
                        <a:pt x="229" y="926"/>
                      </a:lnTo>
                      <a:lnTo>
                        <a:pt x="352" y="957"/>
                      </a:lnTo>
                      <a:lnTo>
                        <a:pt x="389" y="1001"/>
                      </a:lnTo>
                      <a:lnTo>
                        <a:pt x="445" y="975"/>
                      </a:lnTo>
                      <a:lnTo>
                        <a:pt x="470" y="914"/>
                      </a:lnTo>
                      <a:lnTo>
                        <a:pt x="445" y="890"/>
                      </a:lnTo>
                      <a:lnTo>
                        <a:pt x="340" y="876"/>
                      </a:lnTo>
                      <a:lnTo>
                        <a:pt x="223" y="876"/>
                      </a:lnTo>
                      <a:lnTo>
                        <a:pt x="173" y="870"/>
                      </a:lnTo>
                      <a:lnTo>
                        <a:pt x="161" y="834"/>
                      </a:lnTo>
                      <a:lnTo>
                        <a:pt x="173" y="765"/>
                      </a:lnTo>
                      <a:lnTo>
                        <a:pt x="180" y="648"/>
                      </a:lnTo>
                      <a:lnTo>
                        <a:pt x="167" y="518"/>
                      </a:lnTo>
                      <a:lnTo>
                        <a:pt x="148" y="346"/>
                      </a:lnTo>
                      <a:lnTo>
                        <a:pt x="154" y="197"/>
                      </a:lnTo>
                      <a:lnTo>
                        <a:pt x="154" y="1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30" name="Group 335"/>
            <p:cNvGrpSpPr>
              <a:grpSpLocks/>
            </p:cNvGrpSpPr>
            <p:nvPr/>
          </p:nvGrpSpPr>
          <p:grpSpPr bwMode="auto">
            <a:xfrm>
              <a:off x="4800" y="1728"/>
              <a:ext cx="672" cy="615"/>
              <a:chOff x="4368" y="1353"/>
              <a:chExt cx="1030" cy="942"/>
            </a:xfrm>
          </p:grpSpPr>
          <p:sp>
            <p:nvSpPr>
              <p:cNvPr id="209" name="Freeform 265"/>
              <p:cNvSpPr>
                <a:spLocks/>
              </p:cNvSpPr>
              <p:nvPr/>
            </p:nvSpPr>
            <p:spPr bwMode="auto">
              <a:xfrm>
                <a:off x="4394" y="1369"/>
                <a:ext cx="986" cy="546"/>
              </a:xfrm>
              <a:custGeom>
                <a:avLst/>
                <a:gdLst>
                  <a:gd name="T0" fmla="*/ 814 w 2959"/>
                  <a:gd name="T1" fmla="*/ 432 h 1639"/>
                  <a:gd name="T2" fmla="*/ 1275 w 2959"/>
                  <a:gd name="T3" fmla="*/ 0 h 1639"/>
                  <a:gd name="T4" fmla="*/ 1937 w 2959"/>
                  <a:gd name="T5" fmla="*/ 229 h 1639"/>
                  <a:gd name="T6" fmla="*/ 2959 w 2959"/>
                  <a:gd name="T7" fmla="*/ 696 h 1639"/>
                  <a:gd name="T8" fmla="*/ 2422 w 2959"/>
                  <a:gd name="T9" fmla="*/ 1405 h 1639"/>
                  <a:gd name="T10" fmla="*/ 1961 w 2959"/>
                  <a:gd name="T11" fmla="*/ 521 h 1639"/>
                  <a:gd name="T12" fmla="*/ 1310 w 2959"/>
                  <a:gd name="T13" fmla="*/ 636 h 1639"/>
                  <a:gd name="T14" fmla="*/ 1058 w 2959"/>
                  <a:gd name="T15" fmla="*/ 700 h 1639"/>
                  <a:gd name="T16" fmla="*/ 889 w 2959"/>
                  <a:gd name="T17" fmla="*/ 815 h 1639"/>
                  <a:gd name="T18" fmla="*/ 651 w 2959"/>
                  <a:gd name="T19" fmla="*/ 1639 h 1639"/>
                  <a:gd name="T20" fmla="*/ 228 w 2959"/>
                  <a:gd name="T21" fmla="*/ 1432 h 1639"/>
                  <a:gd name="T22" fmla="*/ 0 w 2959"/>
                  <a:gd name="T23" fmla="*/ 1311 h 1639"/>
                  <a:gd name="T24" fmla="*/ 814 w 2959"/>
                  <a:gd name="T25" fmla="*/ 432 h 1639"/>
                  <a:gd name="T26" fmla="*/ 814 w 2959"/>
                  <a:gd name="T27" fmla="*/ 432 h 16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959"/>
                  <a:gd name="T43" fmla="*/ 0 h 1639"/>
                  <a:gd name="T44" fmla="*/ 2959 w 2959"/>
                  <a:gd name="T45" fmla="*/ 1639 h 163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959" h="1639">
                    <a:moveTo>
                      <a:pt x="814" y="432"/>
                    </a:moveTo>
                    <a:lnTo>
                      <a:pt x="1275" y="0"/>
                    </a:lnTo>
                    <a:lnTo>
                      <a:pt x="1937" y="229"/>
                    </a:lnTo>
                    <a:lnTo>
                      <a:pt x="2959" y="696"/>
                    </a:lnTo>
                    <a:lnTo>
                      <a:pt x="2422" y="1405"/>
                    </a:lnTo>
                    <a:lnTo>
                      <a:pt x="1961" y="521"/>
                    </a:lnTo>
                    <a:lnTo>
                      <a:pt x="1310" y="636"/>
                    </a:lnTo>
                    <a:lnTo>
                      <a:pt x="1058" y="700"/>
                    </a:lnTo>
                    <a:lnTo>
                      <a:pt x="889" y="815"/>
                    </a:lnTo>
                    <a:lnTo>
                      <a:pt x="651" y="1639"/>
                    </a:lnTo>
                    <a:lnTo>
                      <a:pt x="228" y="1432"/>
                    </a:lnTo>
                    <a:lnTo>
                      <a:pt x="0" y="1311"/>
                    </a:lnTo>
                    <a:lnTo>
                      <a:pt x="814" y="432"/>
                    </a:lnTo>
                    <a:close/>
                  </a:path>
                </a:pathLst>
              </a:custGeom>
              <a:solidFill>
                <a:srgbClr val="FFE5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0" name="Freeform 266"/>
              <p:cNvSpPr>
                <a:spLocks/>
              </p:cNvSpPr>
              <p:nvPr/>
            </p:nvSpPr>
            <p:spPr bwMode="auto">
              <a:xfrm>
                <a:off x="4845" y="1954"/>
                <a:ext cx="506" cy="327"/>
              </a:xfrm>
              <a:custGeom>
                <a:avLst/>
                <a:gdLst>
                  <a:gd name="T0" fmla="*/ 1285 w 1518"/>
                  <a:gd name="T1" fmla="*/ 0 h 979"/>
                  <a:gd name="T2" fmla="*/ 1459 w 1518"/>
                  <a:gd name="T3" fmla="*/ 218 h 979"/>
                  <a:gd name="T4" fmla="*/ 1518 w 1518"/>
                  <a:gd name="T5" fmla="*/ 616 h 979"/>
                  <a:gd name="T6" fmla="*/ 769 w 1518"/>
                  <a:gd name="T7" fmla="*/ 859 h 979"/>
                  <a:gd name="T8" fmla="*/ 130 w 1518"/>
                  <a:gd name="T9" fmla="*/ 979 h 979"/>
                  <a:gd name="T10" fmla="*/ 189 w 1518"/>
                  <a:gd name="T11" fmla="*/ 804 h 979"/>
                  <a:gd name="T12" fmla="*/ 0 w 1518"/>
                  <a:gd name="T13" fmla="*/ 506 h 979"/>
                  <a:gd name="T14" fmla="*/ 347 w 1518"/>
                  <a:gd name="T15" fmla="*/ 338 h 979"/>
                  <a:gd name="T16" fmla="*/ 744 w 1518"/>
                  <a:gd name="T17" fmla="*/ 159 h 979"/>
                  <a:gd name="T18" fmla="*/ 874 w 1518"/>
                  <a:gd name="T19" fmla="*/ 140 h 979"/>
                  <a:gd name="T20" fmla="*/ 1101 w 1518"/>
                  <a:gd name="T21" fmla="*/ 224 h 979"/>
                  <a:gd name="T22" fmla="*/ 1012 w 1518"/>
                  <a:gd name="T23" fmla="*/ 104 h 979"/>
                  <a:gd name="T24" fmla="*/ 1285 w 1518"/>
                  <a:gd name="T25" fmla="*/ 0 h 979"/>
                  <a:gd name="T26" fmla="*/ 1285 w 1518"/>
                  <a:gd name="T27" fmla="*/ 0 h 9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18"/>
                  <a:gd name="T43" fmla="*/ 0 h 979"/>
                  <a:gd name="T44" fmla="*/ 1518 w 1518"/>
                  <a:gd name="T45" fmla="*/ 979 h 9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18" h="979">
                    <a:moveTo>
                      <a:pt x="1285" y="0"/>
                    </a:moveTo>
                    <a:lnTo>
                      <a:pt x="1459" y="218"/>
                    </a:lnTo>
                    <a:lnTo>
                      <a:pt x="1518" y="616"/>
                    </a:lnTo>
                    <a:lnTo>
                      <a:pt x="769" y="859"/>
                    </a:lnTo>
                    <a:lnTo>
                      <a:pt x="130" y="979"/>
                    </a:lnTo>
                    <a:lnTo>
                      <a:pt x="189" y="804"/>
                    </a:lnTo>
                    <a:lnTo>
                      <a:pt x="0" y="506"/>
                    </a:lnTo>
                    <a:lnTo>
                      <a:pt x="347" y="338"/>
                    </a:lnTo>
                    <a:lnTo>
                      <a:pt x="744" y="159"/>
                    </a:lnTo>
                    <a:lnTo>
                      <a:pt x="874" y="140"/>
                    </a:lnTo>
                    <a:lnTo>
                      <a:pt x="1101" y="224"/>
                    </a:lnTo>
                    <a:lnTo>
                      <a:pt x="1012" y="104"/>
                    </a:lnTo>
                    <a:lnTo>
                      <a:pt x="1285" y="0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1" name="Freeform 267"/>
              <p:cNvSpPr>
                <a:spLocks/>
              </p:cNvSpPr>
              <p:nvPr/>
            </p:nvSpPr>
            <p:spPr bwMode="auto">
              <a:xfrm>
                <a:off x="4894" y="2075"/>
                <a:ext cx="456" cy="209"/>
              </a:xfrm>
              <a:custGeom>
                <a:avLst/>
                <a:gdLst>
                  <a:gd name="T0" fmla="*/ 39 w 1367"/>
                  <a:gd name="T1" fmla="*/ 447 h 627"/>
                  <a:gd name="T2" fmla="*/ 145 w 1367"/>
                  <a:gd name="T3" fmla="*/ 321 h 627"/>
                  <a:gd name="T4" fmla="*/ 192 w 1367"/>
                  <a:gd name="T5" fmla="*/ 439 h 627"/>
                  <a:gd name="T6" fmla="*/ 373 w 1367"/>
                  <a:gd name="T7" fmla="*/ 281 h 627"/>
                  <a:gd name="T8" fmla="*/ 424 w 1367"/>
                  <a:gd name="T9" fmla="*/ 396 h 627"/>
                  <a:gd name="T10" fmla="*/ 533 w 1367"/>
                  <a:gd name="T11" fmla="*/ 259 h 627"/>
                  <a:gd name="T12" fmla="*/ 575 w 1367"/>
                  <a:gd name="T13" fmla="*/ 368 h 627"/>
                  <a:gd name="T14" fmla="*/ 741 w 1367"/>
                  <a:gd name="T15" fmla="*/ 192 h 627"/>
                  <a:gd name="T16" fmla="*/ 773 w 1367"/>
                  <a:gd name="T17" fmla="*/ 317 h 627"/>
                  <a:gd name="T18" fmla="*/ 967 w 1367"/>
                  <a:gd name="T19" fmla="*/ 133 h 627"/>
                  <a:gd name="T20" fmla="*/ 983 w 1367"/>
                  <a:gd name="T21" fmla="*/ 262 h 627"/>
                  <a:gd name="T22" fmla="*/ 1141 w 1367"/>
                  <a:gd name="T23" fmla="*/ 62 h 627"/>
                  <a:gd name="T24" fmla="*/ 1171 w 1367"/>
                  <a:gd name="T25" fmla="*/ 196 h 627"/>
                  <a:gd name="T26" fmla="*/ 1309 w 1367"/>
                  <a:gd name="T27" fmla="*/ 0 h 627"/>
                  <a:gd name="T28" fmla="*/ 1367 w 1367"/>
                  <a:gd name="T29" fmla="*/ 90 h 627"/>
                  <a:gd name="T30" fmla="*/ 1352 w 1367"/>
                  <a:gd name="T31" fmla="*/ 255 h 627"/>
                  <a:gd name="T32" fmla="*/ 548 w 1367"/>
                  <a:gd name="T33" fmla="*/ 525 h 627"/>
                  <a:gd name="T34" fmla="*/ 0 w 1367"/>
                  <a:gd name="T35" fmla="*/ 627 h 627"/>
                  <a:gd name="T36" fmla="*/ 32 w 1367"/>
                  <a:gd name="T37" fmla="*/ 470 h 627"/>
                  <a:gd name="T38" fmla="*/ 39 w 1367"/>
                  <a:gd name="T39" fmla="*/ 447 h 627"/>
                  <a:gd name="T40" fmla="*/ 39 w 1367"/>
                  <a:gd name="T41" fmla="*/ 447 h 62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367"/>
                  <a:gd name="T64" fmla="*/ 0 h 627"/>
                  <a:gd name="T65" fmla="*/ 1367 w 1367"/>
                  <a:gd name="T66" fmla="*/ 627 h 62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367" h="627">
                    <a:moveTo>
                      <a:pt x="39" y="447"/>
                    </a:moveTo>
                    <a:lnTo>
                      <a:pt x="145" y="321"/>
                    </a:lnTo>
                    <a:lnTo>
                      <a:pt x="192" y="439"/>
                    </a:lnTo>
                    <a:lnTo>
                      <a:pt x="373" y="281"/>
                    </a:lnTo>
                    <a:lnTo>
                      <a:pt x="424" y="396"/>
                    </a:lnTo>
                    <a:lnTo>
                      <a:pt x="533" y="259"/>
                    </a:lnTo>
                    <a:lnTo>
                      <a:pt x="575" y="368"/>
                    </a:lnTo>
                    <a:lnTo>
                      <a:pt x="741" y="192"/>
                    </a:lnTo>
                    <a:lnTo>
                      <a:pt x="773" y="317"/>
                    </a:lnTo>
                    <a:lnTo>
                      <a:pt x="967" y="133"/>
                    </a:lnTo>
                    <a:lnTo>
                      <a:pt x="983" y="262"/>
                    </a:lnTo>
                    <a:lnTo>
                      <a:pt x="1141" y="62"/>
                    </a:lnTo>
                    <a:lnTo>
                      <a:pt x="1171" y="196"/>
                    </a:lnTo>
                    <a:lnTo>
                      <a:pt x="1309" y="0"/>
                    </a:lnTo>
                    <a:lnTo>
                      <a:pt x="1367" y="90"/>
                    </a:lnTo>
                    <a:lnTo>
                      <a:pt x="1352" y="255"/>
                    </a:lnTo>
                    <a:lnTo>
                      <a:pt x="548" y="525"/>
                    </a:lnTo>
                    <a:lnTo>
                      <a:pt x="0" y="627"/>
                    </a:lnTo>
                    <a:lnTo>
                      <a:pt x="32" y="470"/>
                    </a:lnTo>
                    <a:lnTo>
                      <a:pt x="39" y="447"/>
                    </a:lnTo>
                    <a:close/>
                  </a:path>
                </a:pathLst>
              </a:custGeom>
              <a:solidFill>
                <a:srgbClr val="FFA6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2" name="Freeform 268"/>
              <p:cNvSpPr>
                <a:spLocks/>
              </p:cNvSpPr>
              <p:nvPr/>
            </p:nvSpPr>
            <p:spPr bwMode="auto">
              <a:xfrm>
                <a:off x="4726" y="1751"/>
                <a:ext cx="40" cy="56"/>
              </a:xfrm>
              <a:custGeom>
                <a:avLst/>
                <a:gdLst>
                  <a:gd name="T0" fmla="*/ 119 w 119"/>
                  <a:gd name="T1" fmla="*/ 0 h 169"/>
                  <a:gd name="T2" fmla="*/ 69 w 119"/>
                  <a:gd name="T3" fmla="*/ 169 h 169"/>
                  <a:gd name="T4" fmla="*/ 0 w 119"/>
                  <a:gd name="T5" fmla="*/ 95 h 169"/>
                  <a:gd name="T6" fmla="*/ 35 w 119"/>
                  <a:gd name="T7" fmla="*/ 19 h 169"/>
                  <a:gd name="T8" fmla="*/ 119 w 119"/>
                  <a:gd name="T9" fmla="*/ 0 h 169"/>
                  <a:gd name="T10" fmla="*/ 119 w 119"/>
                  <a:gd name="T11" fmla="*/ 0 h 16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9"/>
                  <a:gd name="T19" fmla="*/ 0 h 169"/>
                  <a:gd name="T20" fmla="*/ 119 w 119"/>
                  <a:gd name="T21" fmla="*/ 169 h 16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9" h="169">
                    <a:moveTo>
                      <a:pt x="119" y="0"/>
                    </a:moveTo>
                    <a:lnTo>
                      <a:pt x="69" y="169"/>
                    </a:lnTo>
                    <a:lnTo>
                      <a:pt x="0" y="95"/>
                    </a:lnTo>
                    <a:lnTo>
                      <a:pt x="35" y="19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3" name="Freeform 269"/>
              <p:cNvSpPr>
                <a:spLocks/>
              </p:cNvSpPr>
              <p:nvPr/>
            </p:nvSpPr>
            <p:spPr bwMode="auto">
              <a:xfrm>
                <a:off x="4973" y="1710"/>
                <a:ext cx="69" cy="172"/>
              </a:xfrm>
              <a:custGeom>
                <a:avLst/>
                <a:gdLst>
                  <a:gd name="T0" fmla="*/ 0 w 207"/>
                  <a:gd name="T1" fmla="*/ 475 h 517"/>
                  <a:gd name="T2" fmla="*/ 138 w 207"/>
                  <a:gd name="T3" fmla="*/ 219 h 517"/>
                  <a:gd name="T4" fmla="*/ 134 w 207"/>
                  <a:gd name="T5" fmla="*/ 0 h 517"/>
                  <a:gd name="T6" fmla="*/ 207 w 207"/>
                  <a:gd name="T7" fmla="*/ 134 h 517"/>
                  <a:gd name="T8" fmla="*/ 203 w 207"/>
                  <a:gd name="T9" fmla="*/ 471 h 517"/>
                  <a:gd name="T10" fmla="*/ 88 w 207"/>
                  <a:gd name="T11" fmla="*/ 517 h 517"/>
                  <a:gd name="T12" fmla="*/ 0 w 207"/>
                  <a:gd name="T13" fmla="*/ 475 h 517"/>
                  <a:gd name="T14" fmla="*/ 0 w 207"/>
                  <a:gd name="T15" fmla="*/ 475 h 5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7"/>
                  <a:gd name="T25" fmla="*/ 0 h 517"/>
                  <a:gd name="T26" fmla="*/ 207 w 207"/>
                  <a:gd name="T27" fmla="*/ 517 h 5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7" h="517">
                    <a:moveTo>
                      <a:pt x="0" y="475"/>
                    </a:moveTo>
                    <a:lnTo>
                      <a:pt x="138" y="219"/>
                    </a:lnTo>
                    <a:lnTo>
                      <a:pt x="134" y="0"/>
                    </a:lnTo>
                    <a:lnTo>
                      <a:pt x="207" y="134"/>
                    </a:lnTo>
                    <a:lnTo>
                      <a:pt x="203" y="471"/>
                    </a:lnTo>
                    <a:lnTo>
                      <a:pt x="88" y="517"/>
                    </a:lnTo>
                    <a:lnTo>
                      <a:pt x="0" y="475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4" name="Freeform 270"/>
              <p:cNvSpPr>
                <a:spLocks/>
              </p:cNvSpPr>
              <p:nvPr/>
            </p:nvSpPr>
            <p:spPr bwMode="auto">
              <a:xfrm>
                <a:off x="4688" y="1988"/>
                <a:ext cx="51" cy="44"/>
              </a:xfrm>
              <a:custGeom>
                <a:avLst/>
                <a:gdLst>
                  <a:gd name="T0" fmla="*/ 0 w 153"/>
                  <a:gd name="T1" fmla="*/ 30 h 133"/>
                  <a:gd name="T2" fmla="*/ 44 w 153"/>
                  <a:gd name="T3" fmla="*/ 133 h 133"/>
                  <a:gd name="T4" fmla="*/ 153 w 153"/>
                  <a:gd name="T5" fmla="*/ 99 h 133"/>
                  <a:gd name="T6" fmla="*/ 138 w 153"/>
                  <a:gd name="T7" fmla="*/ 0 h 133"/>
                  <a:gd name="T8" fmla="*/ 0 w 153"/>
                  <a:gd name="T9" fmla="*/ 30 h 133"/>
                  <a:gd name="T10" fmla="*/ 0 w 153"/>
                  <a:gd name="T11" fmla="*/ 30 h 1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3"/>
                  <a:gd name="T19" fmla="*/ 0 h 133"/>
                  <a:gd name="T20" fmla="*/ 153 w 153"/>
                  <a:gd name="T21" fmla="*/ 133 h 1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3" h="133">
                    <a:moveTo>
                      <a:pt x="0" y="30"/>
                    </a:moveTo>
                    <a:lnTo>
                      <a:pt x="44" y="133"/>
                    </a:lnTo>
                    <a:lnTo>
                      <a:pt x="153" y="99"/>
                    </a:lnTo>
                    <a:lnTo>
                      <a:pt x="138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E0847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" name="Freeform 271"/>
              <p:cNvSpPr>
                <a:spLocks/>
              </p:cNvSpPr>
              <p:nvPr/>
            </p:nvSpPr>
            <p:spPr bwMode="auto">
              <a:xfrm>
                <a:off x="4725" y="1968"/>
                <a:ext cx="52" cy="57"/>
              </a:xfrm>
              <a:custGeom>
                <a:avLst/>
                <a:gdLst>
                  <a:gd name="T0" fmla="*/ 0 w 158"/>
                  <a:gd name="T1" fmla="*/ 54 h 173"/>
                  <a:gd name="T2" fmla="*/ 44 w 158"/>
                  <a:gd name="T3" fmla="*/ 173 h 173"/>
                  <a:gd name="T4" fmla="*/ 158 w 158"/>
                  <a:gd name="T5" fmla="*/ 124 h 173"/>
                  <a:gd name="T6" fmla="*/ 139 w 158"/>
                  <a:gd name="T7" fmla="*/ 0 h 173"/>
                  <a:gd name="T8" fmla="*/ 0 w 158"/>
                  <a:gd name="T9" fmla="*/ 54 h 173"/>
                  <a:gd name="T10" fmla="*/ 0 w 158"/>
                  <a:gd name="T11" fmla="*/ 54 h 1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8"/>
                  <a:gd name="T19" fmla="*/ 0 h 173"/>
                  <a:gd name="T20" fmla="*/ 158 w 158"/>
                  <a:gd name="T21" fmla="*/ 173 h 1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8" h="173">
                    <a:moveTo>
                      <a:pt x="0" y="54"/>
                    </a:moveTo>
                    <a:lnTo>
                      <a:pt x="44" y="173"/>
                    </a:lnTo>
                    <a:lnTo>
                      <a:pt x="158" y="124"/>
                    </a:lnTo>
                    <a:lnTo>
                      <a:pt x="139" y="0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00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" name="Freeform 272"/>
              <p:cNvSpPr>
                <a:spLocks/>
              </p:cNvSpPr>
              <p:nvPr/>
            </p:nvSpPr>
            <p:spPr bwMode="auto">
              <a:xfrm>
                <a:off x="5035" y="1875"/>
                <a:ext cx="230" cy="58"/>
              </a:xfrm>
              <a:custGeom>
                <a:avLst/>
                <a:gdLst>
                  <a:gd name="T0" fmla="*/ 0 w 689"/>
                  <a:gd name="T1" fmla="*/ 40 h 174"/>
                  <a:gd name="T2" fmla="*/ 118 w 689"/>
                  <a:gd name="T3" fmla="*/ 174 h 174"/>
                  <a:gd name="T4" fmla="*/ 689 w 689"/>
                  <a:gd name="T5" fmla="*/ 0 h 174"/>
                  <a:gd name="T6" fmla="*/ 0 w 689"/>
                  <a:gd name="T7" fmla="*/ 40 h 174"/>
                  <a:gd name="T8" fmla="*/ 0 w 689"/>
                  <a:gd name="T9" fmla="*/ 40 h 1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89"/>
                  <a:gd name="T16" fmla="*/ 0 h 174"/>
                  <a:gd name="T17" fmla="*/ 689 w 689"/>
                  <a:gd name="T18" fmla="*/ 174 h 1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89" h="174">
                    <a:moveTo>
                      <a:pt x="0" y="40"/>
                    </a:moveTo>
                    <a:lnTo>
                      <a:pt x="118" y="174"/>
                    </a:lnTo>
                    <a:lnTo>
                      <a:pt x="689" y="0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6D99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7" name="Freeform 273"/>
              <p:cNvSpPr>
                <a:spLocks/>
              </p:cNvSpPr>
              <p:nvPr/>
            </p:nvSpPr>
            <p:spPr bwMode="auto">
              <a:xfrm>
                <a:off x="4769" y="1910"/>
                <a:ext cx="263" cy="104"/>
              </a:xfrm>
              <a:custGeom>
                <a:avLst/>
                <a:gdLst>
                  <a:gd name="T0" fmla="*/ 0 w 788"/>
                  <a:gd name="T1" fmla="*/ 198 h 312"/>
                  <a:gd name="T2" fmla="*/ 5 w 788"/>
                  <a:gd name="T3" fmla="*/ 312 h 312"/>
                  <a:gd name="T4" fmla="*/ 788 w 788"/>
                  <a:gd name="T5" fmla="*/ 109 h 312"/>
                  <a:gd name="T6" fmla="*/ 599 w 788"/>
                  <a:gd name="T7" fmla="*/ 0 h 312"/>
                  <a:gd name="T8" fmla="*/ 0 w 788"/>
                  <a:gd name="T9" fmla="*/ 198 h 312"/>
                  <a:gd name="T10" fmla="*/ 0 w 788"/>
                  <a:gd name="T11" fmla="*/ 198 h 3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88"/>
                  <a:gd name="T19" fmla="*/ 0 h 312"/>
                  <a:gd name="T20" fmla="*/ 788 w 788"/>
                  <a:gd name="T21" fmla="*/ 312 h 3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88" h="312">
                    <a:moveTo>
                      <a:pt x="0" y="198"/>
                    </a:moveTo>
                    <a:lnTo>
                      <a:pt x="5" y="312"/>
                    </a:lnTo>
                    <a:lnTo>
                      <a:pt x="788" y="109"/>
                    </a:lnTo>
                    <a:lnTo>
                      <a:pt x="599" y="0"/>
                    </a:lnTo>
                    <a:lnTo>
                      <a:pt x="0" y="198"/>
                    </a:lnTo>
                    <a:close/>
                  </a:path>
                </a:pathLst>
              </a:custGeom>
              <a:solidFill>
                <a:srgbClr val="6D99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8" name="Freeform 274"/>
              <p:cNvSpPr>
                <a:spLocks/>
              </p:cNvSpPr>
              <p:nvPr/>
            </p:nvSpPr>
            <p:spPr bwMode="auto">
              <a:xfrm>
                <a:off x="5040" y="1786"/>
                <a:ext cx="205" cy="43"/>
              </a:xfrm>
              <a:custGeom>
                <a:avLst/>
                <a:gdLst>
                  <a:gd name="T0" fmla="*/ 10 w 615"/>
                  <a:gd name="T1" fmla="*/ 4 h 128"/>
                  <a:gd name="T2" fmla="*/ 615 w 615"/>
                  <a:gd name="T3" fmla="*/ 0 h 128"/>
                  <a:gd name="T4" fmla="*/ 0 w 615"/>
                  <a:gd name="T5" fmla="*/ 128 h 128"/>
                  <a:gd name="T6" fmla="*/ 10 w 615"/>
                  <a:gd name="T7" fmla="*/ 4 h 128"/>
                  <a:gd name="T8" fmla="*/ 10 w 615"/>
                  <a:gd name="T9" fmla="*/ 4 h 1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5"/>
                  <a:gd name="T16" fmla="*/ 0 h 128"/>
                  <a:gd name="T17" fmla="*/ 615 w 615"/>
                  <a:gd name="T18" fmla="*/ 128 h 1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5" h="128">
                    <a:moveTo>
                      <a:pt x="10" y="4"/>
                    </a:moveTo>
                    <a:lnTo>
                      <a:pt x="615" y="0"/>
                    </a:lnTo>
                    <a:lnTo>
                      <a:pt x="0" y="128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FFFF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9" name="Freeform 275"/>
              <p:cNvSpPr>
                <a:spLocks/>
              </p:cNvSpPr>
              <p:nvPr/>
            </p:nvSpPr>
            <p:spPr bwMode="auto">
              <a:xfrm>
                <a:off x="4849" y="1783"/>
                <a:ext cx="166" cy="52"/>
              </a:xfrm>
              <a:custGeom>
                <a:avLst/>
                <a:gdLst>
                  <a:gd name="T0" fmla="*/ 0 w 500"/>
                  <a:gd name="T1" fmla="*/ 19 h 158"/>
                  <a:gd name="T2" fmla="*/ 500 w 500"/>
                  <a:gd name="T3" fmla="*/ 0 h 158"/>
                  <a:gd name="T4" fmla="*/ 437 w 500"/>
                  <a:gd name="T5" fmla="*/ 158 h 158"/>
                  <a:gd name="T6" fmla="*/ 178 w 500"/>
                  <a:gd name="T7" fmla="*/ 138 h 158"/>
                  <a:gd name="T8" fmla="*/ 0 w 500"/>
                  <a:gd name="T9" fmla="*/ 19 h 158"/>
                  <a:gd name="T10" fmla="*/ 0 w 500"/>
                  <a:gd name="T11" fmla="*/ 19 h 1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00"/>
                  <a:gd name="T19" fmla="*/ 0 h 158"/>
                  <a:gd name="T20" fmla="*/ 500 w 500"/>
                  <a:gd name="T21" fmla="*/ 158 h 1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00" h="158">
                    <a:moveTo>
                      <a:pt x="0" y="19"/>
                    </a:moveTo>
                    <a:lnTo>
                      <a:pt x="500" y="0"/>
                    </a:lnTo>
                    <a:lnTo>
                      <a:pt x="437" y="158"/>
                    </a:lnTo>
                    <a:lnTo>
                      <a:pt x="178" y="138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0" name="Freeform 276"/>
              <p:cNvSpPr>
                <a:spLocks/>
              </p:cNvSpPr>
              <p:nvPr/>
            </p:nvSpPr>
            <p:spPr bwMode="auto">
              <a:xfrm>
                <a:off x="4753" y="1743"/>
                <a:ext cx="441" cy="278"/>
              </a:xfrm>
              <a:custGeom>
                <a:avLst/>
                <a:gdLst>
                  <a:gd name="T0" fmla="*/ 0 w 1323"/>
                  <a:gd name="T1" fmla="*/ 94 h 834"/>
                  <a:gd name="T2" fmla="*/ 5 w 1323"/>
                  <a:gd name="T3" fmla="*/ 263 h 834"/>
                  <a:gd name="T4" fmla="*/ 89 w 1323"/>
                  <a:gd name="T5" fmla="*/ 307 h 834"/>
                  <a:gd name="T6" fmla="*/ 238 w 1323"/>
                  <a:gd name="T7" fmla="*/ 278 h 834"/>
                  <a:gd name="T8" fmla="*/ 1323 w 1323"/>
                  <a:gd name="T9" fmla="*/ 834 h 834"/>
                  <a:gd name="T10" fmla="*/ 1285 w 1323"/>
                  <a:gd name="T11" fmla="*/ 759 h 834"/>
                  <a:gd name="T12" fmla="*/ 254 w 1323"/>
                  <a:gd name="T13" fmla="*/ 124 h 834"/>
                  <a:gd name="T14" fmla="*/ 227 w 1323"/>
                  <a:gd name="T15" fmla="*/ 35 h 834"/>
                  <a:gd name="T16" fmla="*/ 135 w 1323"/>
                  <a:gd name="T17" fmla="*/ 0 h 834"/>
                  <a:gd name="T18" fmla="*/ 36 w 1323"/>
                  <a:gd name="T19" fmla="*/ 40 h 834"/>
                  <a:gd name="T20" fmla="*/ 0 w 1323"/>
                  <a:gd name="T21" fmla="*/ 94 h 834"/>
                  <a:gd name="T22" fmla="*/ 0 w 1323"/>
                  <a:gd name="T23" fmla="*/ 94 h 83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23"/>
                  <a:gd name="T37" fmla="*/ 0 h 834"/>
                  <a:gd name="T38" fmla="*/ 1323 w 1323"/>
                  <a:gd name="T39" fmla="*/ 834 h 83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23" h="834">
                    <a:moveTo>
                      <a:pt x="0" y="94"/>
                    </a:moveTo>
                    <a:lnTo>
                      <a:pt x="5" y="263"/>
                    </a:lnTo>
                    <a:lnTo>
                      <a:pt x="89" y="307"/>
                    </a:lnTo>
                    <a:lnTo>
                      <a:pt x="238" y="278"/>
                    </a:lnTo>
                    <a:lnTo>
                      <a:pt x="1323" y="834"/>
                    </a:lnTo>
                    <a:lnTo>
                      <a:pt x="1285" y="759"/>
                    </a:lnTo>
                    <a:lnTo>
                      <a:pt x="254" y="124"/>
                    </a:lnTo>
                    <a:lnTo>
                      <a:pt x="227" y="35"/>
                    </a:lnTo>
                    <a:lnTo>
                      <a:pt x="135" y="0"/>
                    </a:lnTo>
                    <a:lnTo>
                      <a:pt x="36" y="40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1" name="Freeform 277"/>
              <p:cNvSpPr>
                <a:spLocks/>
              </p:cNvSpPr>
              <p:nvPr/>
            </p:nvSpPr>
            <p:spPr bwMode="auto">
              <a:xfrm>
                <a:off x="5037" y="1799"/>
                <a:ext cx="238" cy="79"/>
              </a:xfrm>
              <a:custGeom>
                <a:avLst/>
                <a:gdLst>
                  <a:gd name="T0" fmla="*/ 31 w 714"/>
                  <a:gd name="T1" fmla="*/ 63 h 237"/>
                  <a:gd name="T2" fmla="*/ 594 w 714"/>
                  <a:gd name="T3" fmla="*/ 0 h 237"/>
                  <a:gd name="T4" fmla="*/ 714 w 714"/>
                  <a:gd name="T5" fmla="*/ 202 h 237"/>
                  <a:gd name="T6" fmla="*/ 585 w 714"/>
                  <a:gd name="T7" fmla="*/ 237 h 237"/>
                  <a:gd name="T8" fmla="*/ 0 w 714"/>
                  <a:gd name="T9" fmla="*/ 227 h 237"/>
                  <a:gd name="T10" fmla="*/ 31 w 714"/>
                  <a:gd name="T11" fmla="*/ 63 h 237"/>
                  <a:gd name="T12" fmla="*/ 31 w 714"/>
                  <a:gd name="T13" fmla="*/ 63 h 2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14"/>
                  <a:gd name="T22" fmla="*/ 0 h 237"/>
                  <a:gd name="T23" fmla="*/ 714 w 714"/>
                  <a:gd name="T24" fmla="*/ 237 h 2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14" h="237">
                    <a:moveTo>
                      <a:pt x="31" y="63"/>
                    </a:moveTo>
                    <a:lnTo>
                      <a:pt x="594" y="0"/>
                    </a:lnTo>
                    <a:lnTo>
                      <a:pt x="714" y="202"/>
                    </a:lnTo>
                    <a:lnTo>
                      <a:pt x="585" y="237"/>
                    </a:lnTo>
                    <a:lnTo>
                      <a:pt x="0" y="227"/>
                    </a:lnTo>
                    <a:lnTo>
                      <a:pt x="31" y="63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2" name="Freeform 278"/>
              <p:cNvSpPr>
                <a:spLocks/>
              </p:cNvSpPr>
              <p:nvPr/>
            </p:nvSpPr>
            <p:spPr bwMode="auto">
              <a:xfrm>
                <a:off x="5055" y="1678"/>
                <a:ext cx="191" cy="111"/>
              </a:xfrm>
              <a:custGeom>
                <a:avLst/>
                <a:gdLst>
                  <a:gd name="T0" fmla="*/ 6 w 573"/>
                  <a:gd name="T1" fmla="*/ 252 h 332"/>
                  <a:gd name="T2" fmla="*/ 218 w 573"/>
                  <a:gd name="T3" fmla="*/ 0 h 332"/>
                  <a:gd name="T4" fmla="*/ 573 w 573"/>
                  <a:gd name="T5" fmla="*/ 325 h 332"/>
                  <a:gd name="T6" fmla="*/ 10 w 573"/>
                  <a:gd name="T7" fmla="*/ 332 h 332"/>
                  <a:gd name="T8" fmla="*/ 0 w 573"/>
                  <a:gd name="T9" fmla="*/ 277 h 332"/>
                  <a:gd name="T10" fmla="*/ 6 w 573"/>
                  <a:gd name="T11" fmla="*/ 252 h 332"/>
                  <a:gd name="T12" fmla="*/ 6 w 573"/>
                  <a:gd name="T13" fmla="*/ 252 h 3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3"/>
                  <a:gd name="T22" fmla="*/ 0 h 332"/>
                  <a:gd name="T23" fmla="*/ 573 w 573"/>
                  <a:gd name="T24" fmla="*/ 332 h 3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3" h="332">
                    <a:moveTo>
                      <a:pt x="6" y="252"/>
                    </a:moveTo>
                    <a:lnTo>
                      <a:pt x="218" y="0"/>
                    </a:lnTo>
                    <a:lnTo>
                      <a:pt x="573" y="325"/>
                    </a:lnTo>
                    <a:lnTo>
                      <a:pt x="10" y="332"/>
                    </a:lnTo>
                    <a:lnTo>
                      <a:pt x="0" y="277"/>
                    </a:lnTo>
                    <a:lnTo>
                      <a:pt x="6" y="252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3" name="Freeform 279"/>
              <p:cNvSpPr>
                <a:spLocks/>
              </p:cNvSpPr>
              <p:nvPr/>
            </p:nvSpPr>
            <p:spPr bwMode="auto">
              <a:xfrm>
                <a:off x="4921" y="1695"/>
                <a:ext cx="98" cy="91"/>
              </a:xfrm>
              <a:custGeom>
                <a:avLst/>
                <a:gdLst>
                  <a:gd name="T0" fmla="*/ 0 w 292"/>
                  <a:gd name="T1" fmla="*/ 242 h 273"/>
                  <a:gd name="T2" fmla="*/ 277 w 292"/>
                  <a:gd name="T3" fmla="*/ 0 h 273"/>
                  <a:gd name="T4" fmla="*/ 292 w 292"/>
                  <a:gd name="T5" fmla="*/ 173 h 273"/>
                  <a:gd name="T6" fmla="*/ 273 w 292"/>
                  <a:gd name="T7" fmla="*/ 273 h 273"/>
                  <a:gd name="T8" fmla="*/ 0 w 292"/>
                  <a:gd name="T9" fmla="*/ 242 h 273"/>
                  <a:gd name="T10" fmla="*/ 0 w 292"/>
                  <a:gd name="T11" fmla="*/ 242 h 2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2"/>
                  <a:gd name="T19" fmla="*/ 0 h 273"/>
                  <a:gd name="T20" fmla="*/ 292 w 292"/>
                  <a:gd name="T21" fmla="*/ 273 h 2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2" h="273">
                    <a:moveTo>
                      <a:pt x="0" y="242"/>
                    </a:moveTo>
                    <a:lnTo>
                      <a:pt x="277" y="0"/>
                    </a:lnTo>
                    <a:lnTo>
                      <a:pt x="292" y="173"/>
                    </a:lnTo>
                    <a:lnTo>
                      <a:pt x="273" y="273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4" name="Freeform 280"/>
              <p:cNvSpPr>
                <a:spLocks/>
              </p:cNvSpPr>
              <p:nvPr/>
            </p:nvSpPr>
            <p:spPr bwMode="auto">
              <a:xfrm>
                <a:off x="4794" y="1865"/>
                <a:ext cx="177" cy="88"/>
              </a:xfrm>
              <a:custGeom>
                <a:avLst/>
                <a:gdLst>
                  <a:gd name="T0" fmla="*/ 198 w 531"/>
                  <a:gd name="T1" fmla="*/ 0 h 263"/>
                  <a:gd name="T2" fmla="*/ 531 w 531"/>
                  <a:gd name="T3" fmla="*/ 125 h 263"/>
                  <a:gd name="T4" fmla="*/ 302 w 531"/>
                  <a:gd name="T5" fmla="*/ 224 h 263"/>
                  <a:gd name="T6" fmla="*/ 0 w 531"/>
                  <a:gd name="T7" fmla="*/ 263 h 263"/>
                  <a:gd name="T8" fmla="*/ 198 w 531"/>
                  <a:gd name="T9" fmla="*/ 0 h 263"/>
                  <a:gd name="T10" fmla="*/ 198 w 531"/>
                  <a:gd name="T11" fmla="*/ 0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1"/>
                  <a:gd name="T19" fmla="*/ 0 h 263"/>
                  <a:gd name="T20" fmla="*/ 531 w 531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1" h="263">
                    <a:moveTo>
                      <a:pt x="198" y="0"/>
                    </a:moveTo>
                    <a:lnTo>
                      <a:pt x="531" y="125"/>
                    </a:lnTo>
                    <a:lnTo>
                      <a:pt x="302" y="224"/>
                    </a:lnTo>
                    <a:lnTo>
                      <a:pt x="0" y="263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5" name="Freeform 281"/>
              <p:cNvSpPr>
                <a:spLocks/>
              </p:cNvSpPr>
              <p:nvPr/>
            </p:nvSpPr>
            <p:spPr bwMode="auto">
              <a:xfrm>
                <a:off x="5012" y="1536"/>
                <a:ext cx="371" cy="452"/>
              </a:xfrm>
              <a:custGeom>
                <a:avLst/>
                <a:gdLst>
                  <a:gd name="T0" fmla="*/ 218 w 1111"/>
                  <a:gd name="T1" fmla="*/ 1191 h 1355"/>
                  <a:gd name="T2" fmla="*/ 804 w 1111"/>
                  <a:gd name="T3" fmla="*/ 983 h 1355"/>
                  <a:gd name="T4" fmla="*/ 431 w 1111"/>
                  <a:gd name="T5" fmla="*/ 382 h 1355"/>
                  <a:gd name="T6" fmla="*/ 143 w 1111"/>
                  <a:gd name="T7" fmla="*/ 650 h 1355"/>
                  <a:gd name="T8" fmla="*/ 74 w 1111"/>
                  <a:gd name="T9" fmla="*/ 620 h 1355"/>
                  <a:gd name="T10" fmla="*/ 0 w 1111"/>
                  <a:gd name="T11" fmla="*/ 481 h 1355"/>
                  <a:gd name="T12" fmla="*/ 521 w 1111"/>
                  <a:gd name="T13" fmla="*/ 0 h 1355"/>
                  <a:gd name="T14" fmla="*/ 1111 w 1111"/>
                  <a:gd name="T15" fmla="*/ 1107 h 1355"/>
                  <a:gd name="T16" fmla="*/ 466 w 1111"/>
                  <a:gd name="T17" fmla="*/ 1355 h 1355"/>
                  <a:gd name="T18" fmla="*/ 218 w 1111"/>
                  <a:gd name="T19" fmla="*/ 1191 h 1355"/>
                  <a:gd name="T20" fmla="*/ 218 w 1111"/>
                  <a:gd name="T21" fmla="*/ 1191 h 13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11"/>
                  <a:gd name="T34" fmla="*/ 0 h 1355"/>
                  <a:gd name="T35" fmla="*/ 1111 w 1111"/>
                  <a:gd name="T36" fmla="*/ 1355 h 135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11" h="1355">
                    <a:moveTo>
                      <a:pt x="218" y="1191"/>
                    </a:moveTo>
                    <a:lnTo>
                      <a:pt x="804" y="983"/>
                    </a:lnTo>
                    <a:lnTo>
                      <a:pt x="431" y="382"/>
                    </a:lnTo>
                    <a:lnTo>
                      <a:pt x="143" y="650"/>
                    </a:lnTo>
                    <a:lnTo>
                      <a:pt x="74" y="620"/>
                    </a:lnTo>
                    <a:lnTo>
                      <a:pt x="0" y="481"/>
                    </a:lnTo>
                    <a:lnTo>
                      <a:pt x="521" y="0"/>
                    </a:lnTo>
                    <a:lnTo>
                      <a:pt x="1111" y="1107"/>
                    </a:lnTo>
                    <a:lnTo>
                      <a:pt x="466" y="1355"/>
                    </a:lnTo>
                    <a:lnTo>
                      <a:pt x="218" y="1191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6" name="Freeform 282"/>
              <p:cNvSpPr>
                <a:spLocks/>
              </p:cNvSpPr>
              <p:nvPr/>
            </p:nvSpPr>
            <p:spPr bwMode="auto">
              <a:xfrm>
                <a:off x="4674" y="1946"/>
                <a:ext cx="457" cy="192"/>
              </a:xfrm>
              <a:custGeom>
                <a:avLst/>
                <a:gdLst>
                  <a:gd name="T0" fmla="*/ 223 w 1373"/>
                  <a:gd name="T1" fmla="*/ 223 h 576"/>
                  <a:gd name="T2" fmla="*/ 604 w 1373"/>
                  <a:gd name="T3" fmla="*/ 124 h 576"/>
                  <a:gd name="T4" fmla="*/ 535 w 1373"/>
                  <a:gd name="T5" fmla="*/ 228 h 576"/>
                  <a:gd name="T6" fmla="*/ 1081 w 1373"/>
                  <a:gd name="T7" fmla="*/ 0 h 576"/>
                  <a:gd name="T8" fmla="*/ 1373 w 1373"/>
                  <a:gd name="T9" fmla="*/ 158 h 576"/>
                  <a:gd name="T10" fmla="*/ 0 w 1373"/>
                  <a:gd name="T11" fmla="*/ 576 h 576"/>
                  <a:gd name="T12" fmla="*/ 223 w 1373"/>
                  <a:gd name="T13" fmla="*/ 223 h 576"/>
                  <a:gd name="T14" fmla="*/ 223 w 1373"/>
                  <a:gd name="T15" fmla="*/ 223 h 5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73"/>
                  <a:gd name="T25" fmla="*/ 0 h 576"/>
                  <a:gd name="T26" fmla="*/ 1373 w 1373"/>
                  <a:gd name="T27" fmla="*/ 576 h 57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73" h="576">
                    <a:moveTo>
                      <a:pt x="223" y="223"/>
                    </a:moveTo>
                    <a:lnTo>
                      <a:pt x="604" y="124"/>
                    </a:lnTo>
                    <a:lnTo>
                      <a:pt x="535" y="228"/>
                    </a:lnTo>
                    <a:lnTo>
                      <a:pt x="1081" y="0"/>
                    </a:lnTo>
                    <a:lnTo>
                      <a:pt x="1373" y="158"/>
                    </a:lnTo>
                    <a:lnTo>
                      <a:pt x="0" y="576"/>
                    </a:lnTo>
                    <a:lnTo>
                      <a:pt x="223" y="223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7" name="Freeform 283"/>
              <p:cNvSpPr>
                <a:spLocks/>
              </p:cNvSpPr>
              <p:nvPr/>
            </p:nvSpPr>
            <p:spPr bwMode="auto">
              <a:xfrm>
                <a:off x="4830" y="2168"/>
                <a:ext cx="80" cy="69"/>
              </a:xfrm>
              <a:custGeom>
                <a:avLst/>
                <a:gdLst>
                  <a:gd name="T0" fmla="*/ 0 w 238"/>
                  <a:gd name="T1" fmla="*/ 70 h 208"/>
                  <a:gd name="T2" fmla="*/ 154 w 238"/>
                  <a:gd name="T3" fmla="*/ 0 h 208"/>
                  <a:gd name="T4" fmla="*/ 238 w 238"/>
                  <a:gd name="T5" fmla="*/ 154 h 208"/>
                  <a:gd name="T6" fmla="*/ 120 w 238"/>
                  <a:gd name="T7" fmla="*/ 208 h 208"/>
                  <a:gd name="T8" fmla="*/ 84 w 238"/>
                  <a:gd name="T9" fmla="*/ 89 h 208"/>
                  <a:gd name="T10" fmla="*/ 0 w 238"/>
                  <a:gd name="T11" fmla="*/ 70 h 208"/>
                  <a:gd name="T12" fmla="*/ 0 w 238"/>
                  <a:gd name="T13" fmla="*/ 70 h 2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8"/>
                  <a:gd name="T22" fmla="*/ 0 h 208"/>
                  <a:gd name="T23" fmla="*/ 238 w 238"/>
                  <a:gd name="T24" fmla="*/ 208 h 20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8" h="208">
                    <a:moveTo>
                      <a:pt x="0" y="70"/>
                    </a:moveTo>
                    <a:lnTo>
                      <a:pt x="154" y="0"/>
                    </a:lnTo>
                    <a:lnTo>
                      <a:pt x="238" y="154"/>
                    </a:lnTo>
                    <a:lnTo>
                      <a:pt x="120" y="208"/>
                    </a:lnTo>
                    <a:lnTo>
                      <a:pt x="84" y="89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FFF2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8" name="Freeform 284"/>
              <p:cNvSpPr>
                <a:spLocks/>
              </p:cNvSpPr>
              <p:nvPr/>
            </p:nvSpPr>
            <p:spPr bwMode="auto">
              <a:xfrm>
                <a:off x="4802" y="2197"/>
                <a:ext cx="100" cy="90"/>
              </a:xfrm>
              <a:custGeom>
                <a:avLst/>
                <a:gdLst>
                  <a:gd name="T0" fmla="*/ 139 w 298"/>
                  <a:gd name="T1" fmla="*/ 95 h 269"/>
                  <a:gd name="T2" fmla="*/ 298 w 298"/>
                  <a:gd name="T3" fmla="*/ 100 h 269"/>
                  <a:gd name="T4" fmla="*/ 244 w 298"/>
                  <a:gd name="T5" fmla="*/ 233 h 269"/>
                  <a:gd name="T6" fmla="*/ 124 w 298"/>
                  <a:gd name="T7" fmla="*/ 269 h 269"/>
                  <a:gd name="T8" fmla="*/ 19 w 298"/>
                  <a:gd name="T9" fmla="*/ 204 h 269"/>
                  <a:gd name="T10" fmla="*/ 0 w 298"/>
                  <a:gd name="T11" fmla="*/ 86 h 269"/>
                  <a:gd name="T12" fmla="*/ 59 w 298"/>
                  <a:gd name="T13" fmla="*/ 0 h 269"/>
                  <a:gd name="T14" fmla="*/ 173 w 298"/>
                  <a:gd name="T15" fmla="*/ 15 h 269"/>
                  <a:gd name="T16" fmla="*/ 139 w 298"/>
                  <a:gd name="T17" fmla="*/ 95 h 269"/>
                  <a:gd name="T18" fmla="*/ 139 w 298"/>
                  <a:gd name="T19" fmla="*/ 95 h 26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8"/>
                  <a:gd name="T31" fmla="*/ 0 h 269"/>
                  <a:gd name="T32" fmla="*/ 298 w 298"/>
                  <a:gd name="T33" fmla="*/ 269 h 26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8" h="269">
                    <a:moveTo>
                      <a:pt x="139" y="95"/>
                    </a:moveTo>
                    <a:lnTo>
                      <a:pt x="298" y="100"/>
                    </a:lnTo>
                    <a:lnTo>
                      <a:pt x="244" y="233"/>
                    </a:lnTo>
                    <a:lnTo>
                      <a:pt x="124" y="269"/>
                    </a:lnTo>
                    <a:lnTo>
                      <a:pt x="19" y="204"/>
                    </a:lnTo>
                    <a:lnTo>
                      <a:pt x="0" y="86"/>
                    </a:lnTo>
                    <a:lnTo>
                      <a:pt x="59" y="0"/>
                    </a:lnTo>
                    <a:lnTo>
                      <a:pt x="173" y="15"/>
                    </a:lnTo>
                    <a:lnTo>
                      <a:pt x="139" y="95"/>
                    </a:lnTo>
                    <a:close/>
                  </a:path>
                </a:pathLst>
              </a:custGeom>
              <a:solidFill>
                <a:srgbClr val="E57F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9" name="Freeform 285"/>
              <p:cNvSpPr>
                <a:spLocks/>
              </p:cNvSpPr>
              <p:nvPr/>
            </p:nvSpPr>
            <p:spPr bwMode="auto">
              <a:xfrm>
                <a:off x="4625" y="1693"/>
                <a:ext cx="70" cy="61"/>
              </a:xfrm>
              <a:custGeom>
                <a:avLst/>
                <a:gdLst>
                  <a:gd name="T0" fmla="*/ 90 w 208"/>
                  <a:gd name="T1" fmla="*/ 0 h 184"/>
                  <a:gd name="T2" fmla="*/ 0 w 208"/>
                  <a:gd name="T3" fmla="*/ 50 h 184"/>
                  <a:gd name="T4" fmla="*/ 19 w 208"/>
                  <a:gd name="T5" fmla="*/ 159 h 184"/>
                  <a:gd name="T6" fmla="*/ 95 w 208"/>
                  <a:gd name="T7" fmla="*/ 184 h 184"/>
                  <a:gd name="T8" fmla="*/ 208 w 208"/>
                  <a:gd name="T9" fmla="*/ 144 h 184"/>
                  <a:gd name="T10" fmla="*/ 174 w 208"/>
                  <a:gd name="T11" fmla="*/ 90 h 184"/>
                  <a:gd name="T12" fmla="*/ 90 w 208"/>
                  <a:gd name="T13" fmla="*/ 0 h 184"/>
                  <a:gd name="T14" fmla="*/ 90 w 208"/>
                  <a:gd name="T15" fmla="*/ 0 h 18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8"/>
                  <a:gd name="T25" fmla="*/ 0 h 184"/>
                  <a:gd name="T26" fmla="*/ 208 w 208"/>
                  <a:gd name="T27" fmla="*/ 184 h 18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8" h="184">
                    <a:moveTo>
                      <a:pt x="90" y="0"/>
                    </a:moveTo>
                    <a:lnTo>
                      <a:pt x="0" y="50"/>
                    </a:lnTo>
                    <a:lnTo>
                      <a:pt x="19" y="159"/>
                    </a:lnTo>
                    <a:lnTo>
                      <a:pt x="95" y="184"/>
                    </a:lnTo>
                    <a:lnTo>
                      <a:pt x="208" y="144"/>
                    </a:lnTo>
                    <a:lnTo>
                      <a:pt x="174" y="90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E57F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0" name="Freeform 286"/>
              <p:cNvSpPr>
                <a:spLocks/>
              </p:cNvSpPr>
              <p:nvPr/>
            </p:nvSpPr>
            <p:spPr bwMode="auto">
              <a:xfrm>
                <a:off x="4581" y="1643"/>
                <a:ext cx="456" cy="346"/>
              </a:xfrm>
              <a:custGeom>
                <a:avLst/>
                <a:gdLst>
                  <a:gd name="T0" fmla="*/ 1369 w 1369"/>
                  <a:gd name="T1" fmla="*/ 40 h 1037"/>
                  <a:gd name="T2" fmla="*/ 1022 w 1369"/>
                  <a:gd name="T3" fmla="*/ 432 h 1037"/>
                  <a:gd name="T4" fmla="*/ 774 w 1369"/>
                  <a:gd name="T5" fmla="*/ 422 h 1037"/>
                  <a:gd name="T6" fmla="*/ 749 w 1369"/>
                  <a:gd name="T7" fmla="*/ 353 h 1037"/>
                  <a:gd name="T8" fmla="*/ 670 w 1369"/>
                  <a:gd name="T9" fmla="*/ 304 h 1037"/>
                  <a:gd name="T10" fmla="*/ 541 w 1369"/>
                  <a:gd name="T11" fmla="*/ 338 h 1037"/>
                  <a:gd name="T12" fmla="*/ 437 w 1369"/>
                  <a:gd name="T13" fmla="*/ 353 h 1037"/>
                  <a:gd name="T14" fmla="*/ 481 w 1369"/>
                  <a:gd name="T15" fmla="*/ 477 h 1037"/>
                  <a:gd name="T16" fmla="*/ 546 w 1369"/>
                  <a:gd name="T17" fmla="*/ 576 h 1037"/>
                  <a:gd name="T18" fmla="*/ 655 w 1369"/>
                  <a:gd name="T19" fmla="*/ 615 h 1037"/>
                  <a:gd name="T20" fmla="*/ 783 w 1369"/>
                  <a:gd name="T21" fmla="*/ 586 h 1037"/>
                  <a:gd name="T22" fmla="*/ 859 w 1369"/>
                  <a:gd name="T23" fmla="*/ 630 h 1037"/>
                  <a:gd name="T24" fmla="*/ 506 w 1369"/>
                  <a:gd name="T25" fmla="*/ 1002 h 1037"/>
                  <a:gd name="T26" fmla="*/ 417 w 1369"/>
                  <a:gd name="T27" fmla="*/ 1037 h 1037"/>
                  <a:gd name="T28" fmla="*/ 100 w 1369"/>
                  <a:gd name="T29" fmla="*/ 705 h 1037"/>
                  <a:gd name="T30" fmla="*/ 0 w 1369"/>
                  <a:gd name="T31" fmla="*/ 367 h 1037"/>
                  <a:gd name="T32" fmla="*/ 31 w 1369"/>
                  <a:gd name="T33" fmla="*/ 109 h 1037"/>
                  <a:gd name="T34" fmla="*/ 208 w 1369"/>
                  <a:gd name="T35" fmla="*/ 0 h 1037"/>
                  <a:gd name="T36" fmla="*/ 323 w 1369"/>
                  <a:gd name="T37" fmla="*/ 80 h 1037"/>
                  <a:gd name="T38" fmla="*/ 333 w 1369"/>
                  <a:gd name="T39" fmla="*/ 130 h 1037"/>
                  <a:gd name="T40" fmla="*/ 149 w 1369"/>
                  <a:gd name="T41" fmla="*/ 193 h 1037"/>
                  <a:gd name="T42" fmla="*/ 145 w 1369"/>
                  <a:gd name="T43" fmla="*/ 308 h 1037"/>
                  <a:gd name="T44" fmla="*/ 264 w 1369"/>
                  <a:gd name="T45" fmla="*/ 323 h 1037"/>
                  <a:gd name="T46" fmla="*/ 481 w 1369"/>
                  <a:gd name="T47" fmla="*/ 248 h 1037"/>
                  <a:gd name="T48" fmla="*/ 1018 w 1369"/>
                  <a:gd name="T49" fmla="*/ 80 h 1037"/>
                  <a:gd name="T50" fmla="*/ 1369 w 1369"/>
                  <a:gd name="T51" fmla="*/ 40 h 1037"/>
                  <a:gd name="T52" fmla="*/ 1369 w 1369"/>
                  <a:gd name="T53" fmla="*/ 40 h 103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369"/>
                  <a:gd name="T82" fmla="*/ 0 h 1037"/>
                  <a:gd name="T83" fmla="*/ 1369 w 1369"/>
                  <a:gd name="T84" fmla="*/ 1037 h 103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369" h="1037">
                    <a:moveTo>
                      <a:pt x="1369" y="40"/>
                    </a:moveTo>
                    <a:lnTo>
                      <a:pt x="1022" y="432"/>
                    </a:lnTo>
                    <a:lnTo>
                      <a:pt x="774" y="422"/>
                    </a:lnTo>
                    <a:lnTo>
                      <a:pt x="749" y="353"/>
                    </a:lnTo>
                    <a:lnTo>
                      <a:pt x="670" y="304"/>
                    </a:lnTo>
                    <a:lnTo>
                      <a:pt x="541" y="338"/>
                    </a:lnTo>
                    <a:lnTo>
                      <a:pt x="437" y="353"/>
                    </a:lnTo>
                    <a:lnTo>
                      <a:pt x="481" y="477"/>
                    </a:lnTo>
                    <a:lnTo>
                      <a:pt x="546" y="576"/>
                    </a:lnTo>
                    <a:lnTo>
                      <a:pt x="655" y="615"/>
                    </a:lnTo>
                    <a:lnTo>
                      <a:pt x="783" y="586"/>
                    </a:lnTo>
                    <a:lnTo>
                      <a:pt x="859" y="630"/>
                    </a:lnTo>
                    <a:lnTo>
                      <a:pt x="506" y="1002"/>
                    </a:lnTo>
                    <a:lnTo>
                      <a:pt x="417" y="1037"/>
                    </a:lnTo>
                    <a:lnTo>
                      <a:pt x="100" y="705"/>
                    </a:lnTo>
                    <a:lnTo>
                      <a:pt x="0" y="367"/>
                    </a:lnTo>
                    <a:lnTo>
                      <a:pt x="31" y="109"/>
                    </a:lnTo>
                    <a:lnTo>
                      <a:pt x="208" y="0"/>
                    </a:lnTo>
                    <a:lnTo>
                      <a:pt x="323" y="80"/>
                    </a:lnTo>
                    <a:lnTo>
                      <a:pt x="333" y="130"/>
                    </a:lnTo>
                    <a:lnTo>
                      <a:pt x="149" y="193"/>
                    </a:lnTo>
                    <a:lnTo>
                      <a:pt x="145" y="308"/>
                    </a:lnTo>
                    <a:lnTo>
                      <a:pt x="264" y="323"/>
                    </a:lnTo>
                    <a:lnTo>
                      <a:pt x="481" y="248"/>
                    </a:lnTo>
                    <a:lnTo>
                      <a:pt x="1018" y="80"/>
                    </a:lnTo>
                    <a:lnTo>
                      <a:pt x="1369" y="40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1" name="Freeform 287"/>
              <p:cNvSpPr>
                <a:spLocks/>
              </p:cNvSpPr>
              <p:nvPr/>
            </p:nvSpPr>
            <p:spPr bwMode="auto">
              <a:xfrm>
                <a:off x="4674" y="1534"/>
                <a:ext cx="404" cy="209"/>
              </a:xfrm>
              <a:custGeom>
                <a:avLst/>
                <a:gdLst>
                  <a:gd name="T0" fmla="*/ 0 w 1214"/>
                  <a:gd name="T1" fmla="*/ 335 h 628"/>
                  <a:gd name="T2" fmla="*/ 168 w 1214"/>
                  <a:gd name="T3" fmla="*/ 245 h 628"/>
                  <a:gd name="T4" fmla="*/ 401 w 1214"/>
                  <a:gd name="T5" fmla="*/ 146 h 628"/>
                  <a:gd name="T6" fmla="*/ 1111 w 1214"/>
                  <a:gd name="T7" fmla="*/ 0 h 628"/>
                  <a:gd name="T8" fmla="*/ 1214 w 1214"/>
                  <a:gd name="T9" fmla="*/ 240 h 628"/>
                  <a:gd name="T10" fmla="*/ 991 w 1214"/>
                  <a:gd name="T11" fmla="*/ 385 h 628"/>
                  <a:gd name="T12" fmla="*/ 441 w 1214"/>
                  <a:gd name="T13" fmla="*/ 498 h 628"/>
                  <a:gd name="T14" fmla="*/ 47 w 1214"/>
                  <a:gd name="T15" fmla="*/ 628 h 628"/>
                  <a:gd name="T16" fmla="*/ 59 w 1214"/>
                  <a:gd name="T17" fmla="*/ 438 h 628"/>
                  <a:gd name="T18" fmla="*/ 0 w 1214"/>
                  <a:gd name="T19" fmla="*/ 335 h 628"/>
                  <a:gd name="T20" fmla="*/ 0 w 1214"/>
                  <a:gd name="T21" fmla="*/ 335 h 6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14"/>
                  <a:gd name="T34" fmla="*/ 0 h 628"/>
                  <a:gd name="T35" fmla="*/ 1214 w 1214"/>
                  <a:gd name="T36" fmla="*/ 628 h 6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14" h="628">
                    <a:moveTo>
                      <a:pt x="0" y="335"/>
                    </a:moveTo>
                    <a:lnTo>
                      <a:pt x="168" y="245"/>
                    </a:lnTo>
                    <a:lnTo>
                      <a:pt x="401" y="146"/>
                    </a:lnTo>
                    <a:lnTo>
                      <a:pt x="1111" y="0"/>
                    </a:lnTo>
                    <a:lnTo>
                      <a:pt x="1214" y="240"/>
                    </a:lnTo>
                    <a:lnTo>
                      <a:pt x="991" y="385"/>
                    </a:lnTo>
                    <a:lnTo>
                      <a:pt x="441" y="498"/>
                    </a:lnTo>
                    <a:lnTo>
                      <a:pt x="47" y="628"/>
                    </a:lnTo>
                    <a:lnTo>
                      <a:pt x="59" y="438"/>
                    </a:lnTo>
                    <a:lnTo>
                      <a:pt x="0" y="335"/>
                    </a:lnTo>
                    <a:close/>
                  </a:path>
                </a:pathLst>
              </a:custGeom>
              <a:solidFill>
                <a:srgbClr val="FFA6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" name="Freeform 288"/>
              <p:cNvSpPr>
                <a:spLocks/>
              </p:cNvSpPr>
              <p:nvPr/>
            </p:nvSpPr>
            <p:spPr bwMode="auto">
              <a:xfrm>
                <a:off x="4797" y="2015"/>
                <a:ext cx="570" cy="280"/>
              </a:xfrm>
              <a:custGeom>
                <a:avLst/>
                <a:gdLst>
                  <a:gd name="T0" fmla="*/ 44 w 1709"/>
                  <a:gd name="T1" fmla="*/ 703 h 840"/>
                  <a:gd name="T2" fmla="*/ 92 w 1709"/>
                  <a:gd name="T3" fmla="*/ 758 h 840"/>
                  <a:gd name="T4" fmla="*/ 220 w 1709"/>
                  <a:gd name="T5" fmla="*/ 766 h 840"/>
                  <a:gd name="T6" fmla="*/ 266 w 1709"/>
                  <a:gd name="T7" fmla="*/ 679 h 840"/>
                  <a:gd name="T8" fmla="*/ 190 w 1709"/>
                  <a:gd name="T9" fmla="*/ 689 h 840"/>
                  <a:gd name="T10" fmla="*/ 106 w 1709"/>
                  <a:gd name="T11" fmla="*/ 636 h 840"/>
                  <a:gd name="T12" fmla="*/ 177 w 1709"/>
                  <a:gd name="T13" fmla="*/ 588 h 840"/>
                  <a:gd name="T14" fmla="*/ 242 w 1709"/>
                  <a:gd name="T15" fmla="*/ 631 h 840"/>
                  <a:gd name="T16" fmla="*/ 300 w 1709"/>
                  <a:gd name="T17" fmla="*/ 572 h 840"/>
                  <a:gd name="T18" fmla="*/ 358 w 1709"/>
                  <a:gd name="T19" fmla="*/ 657 h 840"/>
                  <a:gd name="T20" fmla="*/ 330 w 1709"/>
                  <a:gd name="T21" fmla="*/ 759 h 840"/>
                  <a:gd name="T22" fmla="*/ 688 w 1709"/>
                  <a:gd name="T23" fmla="*/ 703 h 840"/>
                  <a:gd name="T24" fmla="*/ 887 w 1709"/>
                  <a:gd name="T25" fmla="*/ 595 h 840"/>
                  <a:gd name="T26" fmla="*/ 951 w 1709"/>
                  <a:gd name="T27" fmla="*/ 364 h 840"/>
                  <a:gd name="T28" fmla="*/ 919 w 1709"/>
                  <a:gd name="T29" fmla="*/ 244 h 840"/>
                  <a:gd name="T30" fmla="*/ 923 w 1709"/>
                  <a:gd name="T31" fmla="*/ 194 h 840"/>
                  <a:gd name="T32" fmla="*/ 977 w 1709"/>
                  <a:gd name="T33" fmla="*/ 213 h 840"/>
                  <a:gd name="T34" fmla="*/ 988 w 1709"/>
                  <a:gd name="T35" fmla="*/ 241 h 840"/>
                  <a:gd name="T36" fmla="*/ 981 w 1709"/>
                  <a:gd name="T37" fmla="*/ 453 h 840"/>
                  <a:gd name="T38" fmla="*/ 949 w 1709"/>
                  <a:gd name="T39" fmla="*/ 599 h 840"/>
                  <a:gd name="T40" fmla="*/ 1072 w 1709"/>
                  <a:gd name="T41" fmla="*/ 610 h 840"/>
                  <a:gd name="T42" fmla="*/ 1294 w 1709"/>
                  <a:gd name="T43" fmla="*/ 541 h 840"/>
                  <a:gd name="T44" fmla="*/ 1504 w 1709"/>
                  <a:gd name="T45" fmla="*/ 450 h 840"/>
                  <a:gd name="T46" fmla="*/ 1629 w 1709"/>
                  <a:gd name="T47" fmla="*/ 215 h 840"/>
                  <a:gd name="T48" fmla="*/ 1585 w 1709"/>
                  <a:gd name="T49" fmla="*/ 74 h 840"/>
                  <a:gd name="T50" fmla="*/ 1398 w 1709"/>
                  <a:gd name="T51" fmla="*/ 185 h 840"/>
                  <a:gd name="T52" fmla="*/ 1355 w 1709"/>
                  <a:gd name="T53" fmla="*/ 251 h 840"/>
                  <a:gd name="T54" fmla="*/ 1207 w 1709"/>
                  <a:gd name="T55" fmla="*/ 241 h 840"/>
                  <a:gd name="T56" fmla="*/ 1228 w 1709"/>
                  <a:gd name="T57" fmla="*/ 234 h 840"/>
                  <a:gd name="T58" fmla="*/ 1359 w 1709"/>
                  <a:gd name="T59" fmla="*/ 207 h 840"/>
                  <a:gd name="T60" fmla="*/ 1421 w 1709"/>
                  <a:gd name="T61" fmla="*/ 67 h 840"/>
                  <a:gd name="T62" fmla="*/ 1606 w 1709"/>
                  <a:gd name="T63" fmla="*/ 0 h 840"/>
                  <a:gd name="T64" fmla="*/ 1681 w 1709"/>
                  <a:gd name="T65" fmla="*/ 223 h 840"/>
                  <a:gd name="T66" fmla="*/ 1618 w 1709"/>
                  <a:gd name="T67" fmla="*/ 495 h 840"/>
                  <a:gd name="T68" fmla="*/ 1431 w 1709"/>
                  <a:gd name="T69" fmla="*/ 557 h 840"/>
                  <a:gd name="T70" fmla="*/ 1239 w 1709"/>
                  <a:gd name="T71" fmla="*/ 619 h 840"/>
                  <a:gd name="T72" fmla="*/ 1046 w 1709"/>
                  <a:gd name="T73" fmla="*/ 674 h 840"/>
                  <a:gd name="T74" fmla="*/ 852 w 1709"/>
                  <a:gd name="T75" fmla="*/ 725 h 840"/>
                  <a:gd name="T76" fmla="*/ 656 w 1709"/>
                  <a:gd name="T77" fmla="*/ 769 h 840"/>
                  <a:gd name="T78" fmla="*/ 361 w 1709"/>
                  <a:gd name="T79" fmla="*/ 820 h 840"/>
                  <a:gd name="T80" fmla="*/ 70 w 1709"/>
                  <a:gd name="T81" fmla="*/ 807 h 840"/>
                  <a:gd name="T82" fmla="*/ 0 w 1709"/>
                  <a:gd name="T83" fmla="*/ 732 h 84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709"/>
                  <a:gd name="T127" fmla="*/ 0 h 840"/>
                  <a:gd name="T128" fmla="*/ 1709 w 1709"/>
                  <a:gd name="T129" fmla="*/ 840 h 84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709" h="840">
                    <a:moveTo>
                      <a:pt x="0" y="732"/>
                    </a:moveTo>
                    <a:lnTo>
                      <a:pt x="44" y="703"/>
                    </a:lnTo>
                    <a:lnTo>
                      <a:pt x="64" y="734"/>
                    </a:lnTo>
                    <a:lnTo>
                      <a:pt x="92" y="758"/>
                    </a:lnTo>
                    <a:lnTo>
                      <a:pt x="157" y="780"/>
                    </a:lnTo>
                    <a:lnTo>
                      <a:pt x="220" y="766"/>
                    </a:lnTo>
                    <a:lnTo>
                      <a:pt x="267" y="711"/>
                    </a:lnTo>
                    <a:lnTo>
                      <a:pt x="266" y="679"/>
                    </a:lnTo>
                    <a:lnTo>
                      <a:pt x="238" y="672"/>
                    </a:lnTo>
                    <a:lnTo>
                      <a:pt x="190" y="689"/>
                    </a:lnTo>
                    <a:lnTo>
                      <a:pt x="136" y="683"/>
                    </a:lnTo>
                    <a:lnTo>
                      <a:pt x="106" y="636"/>
                    </a:lnTo>
                    <a:lnTo>
                      <a:pt x="128" y="606"/>
                    </a:lnTo>
                    <a:lnTo>
                      <a:pt x="177" y="588"/>
                    </a:lnTo>
                    <a:lnTo>
                      <a:pt x="227" y="579"/>
                    </a:lnTo>
                    <a:lnTo>
                      <a:pt x="242" y="631"/>
                    </a:lnTo>
                    <a:lnTo>
                      <a:pt x="293" y="601"/>
                    </a:lnTo>
                    <a:lnTo>
                      <a:pt x="300" y="572"/>
                    </a:lnTo>
                    <a:lnTo>
                      <a:pt x="337" y="557"/>
                    </a:lnTo>
                    <a:lnTo>
                      <a:pt x="358" y="657"/>
                    </a:lnTo>
                    <a:lnTo>
                      <a:pt x="351" y="708"/>
                    </a:lnTo>
                    <a:lnTo>
                      <a:pt x="330" y="759"/>
                    </a:lnTo>
                    <a:lnTo>
                      <a:pt x="568" y="729"/>
                    </a:lnTo>
                    <a:lnTo>
                      <a:pt x="688" y="703"/>
                    </a:lnTo>
                    <a:lnTo>
                      <a:pt x="807" y="670"/>
                    </a:lnTo>
                    <a:lnTo>
                      <a:pt x="887" y="595"/>
                    </a:lnTo>
                    <a:lnTo>
                      <a:pt x="933" y="515"/>
                    </a:lnTo>
                    <a:lnTo>
                      <a:pt x="951" y="364"/>
                    </a:lnTo>
                    <a:lnTo>
                      <a:pt x="937" y="298"/>
                    </a:lnTo>
                    <a:lnTo>
                      <a:pt x="919" y="244"/>
                    </a:lnTo>
                    <a:lnTo>
                      <a:pt x="896" y="186"/>
                    </a:lnTo>
                    <a:lnTo>
                      <a:pt x="923" y="194"/>
                    </a:lnTo>
                    <a:lnTo>
                      <a:pt x="936" y="219"/>
                    </a:lnTo>
                    <a:lnTo>
                      <a:pt x="977" y="213"/>
                    </a:lnTo>
                    <a:lnTo>
                      <a:pt x="1016" y="216"/>
                    </a:lnTo>
                    <a:lnTo>
                      <a:pt x="988" y="241"/>
                    </a:lnTo>
                    <a:lnTo>
                      <a:pt x="951" y="256"/>
                    </a:lnTo>
                    <a:lnTo>
                      <a:pt x="981" y="453"/>
                    </a:lnTo>
                    <a:lnTo>
                      <a:pt x="967" y="551"/>
                    </a:lnTo>
                    <a:lnTo>
                      <a:pt x="949" y="599"/>
                    </a:lnTo>
                    <a:lnTo>
                      <a:pt x="921" y="645"/>
                    </a:lnTo>
                    <a:lnTo>
                      <a:pt x="1072" y="610"/>
                    </a:lnTo>
                    <a:lnTo>
                      <a:pt x="1180" y="580"/>
                    </a:lnTo>
                    <a:lnTo>
                      <a:pt x="1294" y="541"/>
                    </a:lnTo>
                    <a:lnTo>
                      <a:pt x="1404" y="497"/>
                    </a:lnTo>
                    <a:lnTo>
                      <a:pt x="1504" y="450"/>
                    </a:lnTo>
                    <a:lnTo>
                      <a:pt x="1622" y="357"/>
                    </a:lnTo>
                    <a:lnTo>
                      <a:pt x="1629" y="215"/>
                    </a:lnTo>
                    <a:lnTo>
                      <a:pt x="1615" y="145"/>
                    </a:lnTo>
                    <a:lnTo>
                      <a:pt x="1585" y="74"/>
                    </a:lnTo>
                    <a:lnTo>
                      <a:pt x="1403" y="111"/>
                    </a:lnTo>
                    <a:lnTo>
                      <a:pt x="1398" y="185"/>
                    </a:lnTo>
                    <a:lnTo>
                      <a:pt x="1382" y="219"/>
                    </a:lnTo>
                    <a:lnTo>
                      <a:pt x="1355" y="251"/>
                    </a:lnTo>
                    <a:lnTo>
                      <a:pt x="1242" y="258"/>
                    </a:lnTo>
                    <a:lnTo>
                      <a:pt x="1207" y="241"/>
                    </a:lnTo>
                    <a:lnTo>
                      <a:pt x="1204" y="211"/>
                    </a:lnTo>
                    <a:lnTo>
                      <a:pt x="1228" y="234"/>
                    </a:lnTo>
                    <a:lnTo>
                      <a:pt x="1297" y="241"/>
                    </a:lnTo>
                    <a:lnTo>
                      <a:pt x="1359" y="207"/>
                    </a:lnTo>
                    <a:lnTo>
                      <a:pt x="1367" y="100"/>
                    </a:lnTo>
                    <a:lnTo>
                      <a:pt x="1421" y="67"/>
                    </a:lnTo>
                    <a:lnTo>
                      <a:pt x="1482" y="44"/>
                    </a:lnTo>
                    <a:lnTo>
                      <a:pt x="1606" y="0"/>
                    </a:lnTo>
                    <a:lnTo>
                      <a:pt x="1643" y="92"/>
                    </a:lnTo>
                    <a:lnTo>
                      <a:pt x="1681" y="223"/>
                    </a:lnTo>
                    <a:lnTo>
                      <a:pt x="1709" y="461"/>
                    </a:lnTo>
                    <a:lnTo>
                      <a:pt x="1618" y="495"/>
                    </a:lnTo>
                    <a:lnTo>
                      <a:pt x="1524" y="526"/>
                    </a:lnTo>
                    <a:lnTo>
                      <a:pt x="1431" y="557"/>
                    </a:lnTo>
                    <a:lnTo>
                      <a:pt x="1335" y="588"/>
                    </a:lnTo>
                    <a:lnTo>
                      <a:pt x="1239" y="619"/>
                    </a:lnTo>
                    <a:lnTo>
                      <a:pt x="1144" y="648"/>
                    </a:lnTo>
                    <a:lnTo>
                      <a:pt x="1046" y="674"/>
                    </a:lnTo>
                    <a:lnTo>
                      <a:pt x="949" y="701"/>
                    </a:lnTo>
                    <a:lnTo>
                      <a:pt x="852" y="725"/>
                    </a:lnTo>
                    <a:lnTo>
                      <a:pt x="754" y="748"/>
                    </a:lnTo>
                    <a:lnTo>
                      <a:pt x="656" y="769"/>
                    </a:lnTo>
                    <a:lnTo>
                      <a:pt x="557" y="788"/>
                    </a:lnTo>
                    <a:lnTo>
                      <a:pt x="361" y="820"/>
                    </a:lnTo>
                    <a:lnTo>
                      <a:pt x="168" y="840"/>
                    </a:lnTo>
                    <a:lnTo>
                      <a:pt x="70" y="807"/>
                    </a:lnTo>
                    <a:lnTo>
                      <a:pt x="0" y="73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3" name="Freeform 289"/>
              <p:cNvSpPr>
                <a:spLocks/>
              </p:cNvSpPr>
              <p:nvPr/>
            </p:nvSpPr>
            <p:spPr bwMode="auto">
              <a:xfrm>
                <a:off x="4792" y="2118"/>
                <a:ext cx="119" cy="141"/>
              </a:xfrm>
              <a:custGeom>
                <a:avLst/>
                <a:gdLst>
                  <a:gd name="T0" fmla="*/ 14 w 357"/>
                  <a:gd name="T1" fmla="*/ 424 h 424"/>
                  <a:gd name="T2" fmla="*/ 0 w 357"/>
                  <a:gd name="T3" fmla="*/ 335 h 424"/>
                  <a:gd name="T4" fmla="*/ 10 w 357"/>
                  <a:gd name="T5" fmla="*/ 289 h 424"/>
                  <a:gd name="T6" fmla="*/ 36 w 357"/>
                  <a:gd name="T7" fmla="*/ 258 h 424"/>
                  <a:gd name="T8" fmla="*/ 80 w 357"/>
                  <a:gd name="T9" fmla="*/ 222 h 424"/>
                  <a:gd name="T10" fmla="*/ 129 w 357"/>
                  <a:gd name="T11" fmla="*/ 190 h 424"/>
                  <a:gd name="T12" fmla="*/ 180 w 357"/>
                  <a:gd name="T13" fmla="*/ 161 h 424"/>
                  <a:gd name="T14" fmla="*/ 232 w 357"/>
                  <a:gd name="T15" fmla="*/ 134 h 424"/>
                  <a:gd name="T16" fmla="*/ 214 w 357"/>
                  <a:gd name="T17" fmla="*/ 109 h 424"/>
                  <a:gd name="T18" fmla="*/ 181 w 357"/>
                  <a:gd name="T19" fmla="*/ 80 h 424"/>
                  <a:gd name="T20" fmla="*/ 122 w 357"/>
                  <a:gd name="T21" fmla="*/ 30 h 424"/>
                  <a:gd name="T22" fmla="*/ 184 w 357"/>
                  <a:gd name="T23" fmla="*/ 0 h 424"/>
                  <a:gd name="T24" fmla="*/ 225 w 357"/>
                  <a:gd name="T25" fmla="*/ 54 h 424"/>
                  <a:gd name="T26" fmla="*/ 275 w 357"/>
                  <a:gd name="T27" fmla="*/ 123 h 424"/>
                  <a:gd name="T28" fmla="*/ 323 w 357"/>
                  <a:gd name="T29" fmla="*/ 193 h 424"/>
                  <a:gd name="T30" fmla="*/ 357 w 357"/>
                  <a:gd name="T31" fmla="*/ 255 h 424"/>
                  <a:gd name="T32" fmla="*/ 318 w 357"/>
                  <a:gd name="T33" fmla="*/ 266 h 424"/>
                  <a:gd name="T34" fmla="*/ 284 w 357"/>
                  <a:gd name="T35" fmla="*/ 225 h 424"/>
                  <a:gd name="T36" fmla="*/ 262 w 357"/>
                  <a:gd name="T37" fmla="*/ 204 h 424"/>
                  <a:gd name="T38" fmla="*/ 243 w 357"/>
                  <a:gd name="T39" fmla="*/ 194 h 424"/>
                  <a:gd name="T40" fmla="*/ 159 w 357"/>
                  <a:gd name="T41" fmla="*/ 214 h 424"/>
                  <a:gd name="T42" fmla="*/ 213 w 357"/>
                  <a:gd name="T43" fmla="*/ 236 h 424"/>
                  <a:gd name="T44" fmla="*/ 246 w 357"/>
                  <a:gd name="T45" fmla="*/ 271 h 424"/>
                  <a:gd name="T46" fmla="*/ 195 w 357"/>
                  <a:gd name="T47" fmla="*/ 281 h 424"/>
                  <a:gd name="T48" fmla="*/ 163 w 357"/>
                  <a:gd name="T49" fmla="*/ 262 h 424"/>
                  <a:gd name="T50" fmla="*/ 133 w 357"/>
                  <a:gd name="T51" fmla="*/ 258 h 424"/>
                  <a:gd name="T52" fmla="*/ 80 w 357"/>
                  <a:gd name="T53" fmla="*/ 284 h 424"/>
                  <a:gd name="T54" fmla="*/ 51 w 357"/>
                  <a:gd name="T55" fmla="*/ 338 h 424"/>
                  <a:gd name="T56" fmla="*/ 60 w 357"/>
                  <a:gd name="T57" fmla="*/ 397 h 424"/>
                  <a:gd name="T58" fmla="*/ 14 w 357"/>
                  <a:gd name="T59" fmla="*/ 424 h 424"/>
                  <a:gd name="T60" fmla="*/ 14 w 357"/>
                  <a:gd name="T61" fmla="*/ 424 h 42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57"/>
                  <a:gd name="T94" fmla="*/ 0 h 424"/>
                  <a:gd name="T95" fmla="*/ 357 w 357"/>
                  <a:gd name="T96" fmla="*/ 424 h 42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57" h="424">
                    <a:moveTo>
                      <a:pt x="14" y="424"/>
                    </a:moveTo>
                    <a:lnTo>
                      <a:pt x="0" y="335"/>
                    </a:lnTo>
                    <a:lnTo>
                      <a:pt x="10" y="289"/>
                    </a:lnTo>
                    <a:lnTo>
                      <a:pt x="36" y="258"/>
                    </a:lnTo>
                    <a:lnTo>
                      <a:pt x="80" y="222"/>
                    </a:lnTo>
                    <a:lnTo>
                      <a:pt x="129" y="190"/>
                    </a:lnTo>
                    <a:lnTo>
                      <a:pt x="180" y="161"/>
                    </a:lnTo>
                    <a:lnTo>
                      <a:pt x="232" y="134"/>
                    </a:lnTo>
                    <a:lnTo>
                      <a:pt x="214" y="109"/>
                    </a:lnTo>
                    <a:lnTo>
                      <a:pt x="181" y="80"/>
                    </a:lnTo>
                    <a:lnTo>
                      <a:pt x="122" y="30"/>
                    </a:lnTo>
                    <a:lnTo>
                      <a:pt x="184" y="0"/>
                    </a:lnTo>
                    <a:lnTo>
                      <a:pt x="225" y="54"/>
                    </a:lnTo>
                    <a:lnTo>
                      <a:pt x="275" y="123"/>
                    </a:lnTo>
                    <a:lnTo>
                      <a:pt x="323" y="193"/>
                    </a:lnTo>
                    <a:lnTo>
                      <a:pt x="357" y="255"/>
                    </a:lnTo>
                    <a:lnTo>
                      <a:pt x="318" y="266"/>
                    </a:lnTo>
                    <a:lnTo>
                      <a:pt x="284" y="225"/>
                    </a:lnTo>
                    <a:lnTo>
                      <a:pt x="262" y="204"/>
                    </a:lnTo>
                    <a:lnTo>
                      <a:pt x="243" y="194"/>
                    </a:lnTo>
                    <a:lnTo>
                      <a:pt x="159" y="214"/>
                    </a:lnTo>
                    <a:lnTo>
                      <a:pt x="213" y="236"/>
                    </a:lnTo>
                    <a:lnTo>
                      <a:pt x="246" y="271"/>
                    </a:lnTo>
                    <a:lnTo>
                      <a:pt x="195" y="281"/>
                    </a:lnTo>
                    <a:lnTo>
                      <a:pt x="163" y="262"/>
                    </a:lnTo>
                    <a:lnTo>
                      <a:pt x="133" y="258"/>
                    </a:lnTo>
                    <a:lnTo>
                      <a:pt x="80" y="284"/>
                    </a:lnTo>
                    <a:lnTo>
                      <a:pt x="51" y="338"/>
                    </a:lnTo>
                    <a:lnTo>
                      <a:pt x="60" y="397"/>
                    </a:lnTo>
                    <a:lnTo>
                      <a:pt x="14" y="4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4" name="Freeform 290"/>
              <p:cNvSpPr>
                <a:spLocks/>
              </p:cNvSpPr>
              <p:nvPr/>
            </p:nvSpPr>
            <p:spPr bwMode="auto">
              <a:xfrm>
                <a:off x="4640" y="1995"/>
                <a:ext cx="438" cy="180"/>
              </a:xfrm>
              <a:custGeom>
                <a:avLst/>
                <a:gdLst>
                  <a:gd name="T0" fmla="*/ 1118 w 1316"/>
                  <a:gd name="T1" fmla="*/ 161 h 540"/>
                  <a:gd name="T2" fmla="*/ 973 w 1316"/>
                  <a:gd name="T3" fmla="*/ 220 h 540"/>
                  <a:gd name="T4" fmla="*/ 1206 w 1316"/>
                  <a:gd name="T5" fmla="*/ 478 h 540"/>
                  <a:gd name="T6" fmla="*/ 1316 w 1316"/>
                  <a:gd name="T7" fmla="*/ 450 h 540"/>
                  <a:gd name="T8" fmla="*/ 1191 w 1316"/>
                  <a:gd name="T9" fmla="*/ 511 h 540"/>
                  <a:gd name="T10" fmla="*/ 1072 w 1316"/>
                  <a:gd name="T11" fmla="*/ 540 h 540"/>
                  <a:gd name="T12" fmla="*/ 1008 w 1316"/>
                  <a:gd name="T13" fmla="*/ 390 h 540"/>
                  <a:gd name="T14" fmla="*/ 856 w 1316"/>
                  <a:gd name="T15" fmla="*/ 398 h 540"/>
                  <a:gd name="T16" fmla="*/ 955 w 1316"/>
                  <a:gd name="T17" fmla="*/ 317 h 540"/>
                  <a:gd name="T18" fmla="*/ 919 w 1316"/>
                  <a:gd name="T19" fmla="*/ 260 h 540"/>
                  <a:gd name="T20" fmla="*/ 747 w 1316"/>
                  <a:gd name="T21" fmla="*/ 348 h 540"/>
                  <a:gd name="T22" fmla="*/ 634 w 1316"/>
                  <a:gd name="T23" fmla="*/ 402 h 540"/>
                  <a:gd name="T24" fmla="*/ 513 w 1316"/>
                  <a:gd name="T25" fmla="*/ 398 h 540"/>
                  <a:gd name="T26" fmla="*/ 81 w 1316"/>
                  <a:gd name="T27" fmla="*/ 452 h 540"/>
                  <a:gd name="T28" fmla="*/ 98 w 1316"/>
                  <a:gd name="T29" fmla="*/ 368 h 540"/>
                  <a:gd name="T30" fmla="*/ 0 w 1316"/>
                  <a:gd name="T31" fmla="*/ 329 h 540"/>
                  <a:gd name="T32" fmla="*/ 48 w 1316"/>
                  <a:gd name="T33" fmla="*/ 256 h 540"/>
                  <a:gd name="T34" fmla="*/ 109 w 1316"/>
                  <a:gd name="T35" fmla="*/ 188 h 540"/>
                  <a:gd name="T36" fmla="*/ 71 w 1316"/>
                  <a:gd name="T37" fmla="*/ 147 h 540"/>
                  <a:gd name="T38" fmla="*/ 524 w 1316"/>
                  <a:gd name="T39" fmla="*/ 0 h 540"/>
                  <a:gd name="T40" fmla="*/ 395 w 1316"/>
                  <a:gd name="T41" fmla="*/ 88 h 540"/>
                  <a:gd name="T42" fmla="*/ 274 w 1316"/>
                  <a:gd name="T43" fmla="*/ 224 h 540"/>
                  <a:gd name="T44" fmla="*/ 204 w 1316"/>
                  <a:gd name="T45" fmla="*/ 328 h 540"/>
                  <a:gd name="T46" fmla="*/ 233 w 1316"/>
                  <a:gd name="T47" fmla="*/ 361 h 540"/>
                  <a:gd name="T48" fmla="*/ 271 w 1316"/>
                  <a:gd name="T49" fmla="*/ 345 h 540"/>
                  <a:gd name="T50" fmla="*/ 307 w 1316"/>
                  <a:gd name="T51" fmla="*/ 275 h 540"/>
                  <a:gd name="T52" fmla="*/ 331 w 1316"/>
                  <a:gd name="T53" fmla="*/ 328 h 540"/>
                  <a:gd name="T54" fmla="*/ 371 w 1316"/>
                  <a:gd name="T55" fmla="*/ 286 h 540"/>
                  <a:gd name="T56" fmla="*/ 393 w 1316"/>
                  <a:gd name="T57" fmla="*/ 312 h 540"/>
                  <a:gd name="T58" fmla="*/ 438 w 1316"/>
                  <a:gd name="T59" fmla="*/ 239 h 540"/>
                  <a:gd name="T60" fmla="*/ 463 w 1316"/>
                  <a:gd name="T61" fmla="*/ 293 h 540"/>
                  <a:gd name="T62" fmla="*/ 511 w 1316"/>
                  <a:gd name="T63" fmla="*/ 242 h 540"/>
                  <a:gd name="T64" fmla="*/ 536 w 1316"/>
                  <a:gd name="T65" fmla="*/ 277 h 540"/>
                  <a:gd name="T66" fmla="*/ 568 w 1316"/>
                  <a:gd name="T67" fmla="*/ 210 h 540"/>
                  <a:gd name="T68" fmla="*/ 621 w 1316"/>
                  <a:gd name="T69" fmla="*/ 252 h 540"/>
                  <a:gd name="T70" fmla="*/ 649 w 1316"/>
                  <a:gd name="T71" fmla="*/ 249 h 540"/>
                  <a:gd name="T72" fmla="*/ 685 w 1316"/>
                  <a:gd name="T73" fmla="*/ 172 h 540"/>
                  <a:gd name="T74" fmla="*/ 725 w 1316"/>
                  <a:gd name="T75" fmla="*/ 227 h 540"/>
                  <a:gd name="T76" fmla="*/ 751 w 1316"/>
                  <a:gd name="T77" fmla="*/ 187 h 540"/>
                  <a:gd name="T78" fmla="*/ 808 w 1316"/>
                  <a:gd name="T79" fmla="*/ 169 h 540"/>
                  <a:gd name="T80" fmla="*/ 854 w 1316"/>
                  <a:gd name="T81" fmla="*/ 177 h 540"/>
                  <a:gd name="T82" fmla="*/ 871 w 1316"/>
                  <a:gd name="T83" fmla="*/ 146 h 540"/>
                  <a:gd name="T84" fmla="*/ 903 w 1316"/>
                  <a:gd name="T85" fmla="*/ 169 h 540"/>
                  <a:gd name="T86" fmla="*/ 936 w 1316"/>
                  <a:gd name="T87" fmla="*/ 153 h 540"/>
                  <a:gd name="T88" fmla="*/ 972 w 1316"/>
                  <a:gd name="T89" fmla="*/ 96 h 540"/>
                  <a:gd name="T90" fmla="*/ 1016 w 1316"/>
                  <a:gd name="T91" fmla="*/ 132 h 540"/>
                  <a:gd name="T92" fmla="*/ 1028 w 1316"/>
                  <a:gd name="T93" fmla="*/ 96 h 540"/>
                  <a:gd name="T94" fmla="*/ 1094 w 1316"/>
                  <a:gd name="T95" fmla="*/ 99 h 54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316"/>
                  <a:gd name="T145" fmla="*/ 0 h 540"/>
                  <a:gd name="T146" fmla="*/ 1316 w 1316"/>
                  <a:gd name="T147" fmla="*/ 540 h 54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316" h="540">
                    <a:moveTo>
                      <a:pt x="1094" y="99"/>
                    </a:moveTo>
                    <a:lnTo>
                      <a:pt x="1118" y="161"/>
                    </a:lnTo>
                    <a:lnTo>
                      <a:pt x="1045" y="191"/>
                    </a:lnTo>
                    <a:lnTo>
                      <a:pt x="973" y="220"/>
                    </a:lnTo>
                    <a:lnTo>
                      <a:pt x="1096" y="514"/>
                    </a:lnTo>
                    <a:lnTo>
                      <a:pt x="1206" y="478"/>
                    </a:lnTo>
                    <a:lnTo>
                      <a:pt x="1261" y="458"/>
                    </a:lnTo>
                    <a:lnTo>
                      <a:pt x="1316" y="450"/>
                    </a:lnTo>
                    <a:lnTo>
                      <a:pt x="1311" y="471"/>
                    </a:lnTo>
                    <a:lnTo>
                      <a:pt x="1191" y="511"/>
                    </a:lnTo>
                    <a:lnTo>
                      <a:pt x="1129" y="532"/>
                    </a:lnTo>
                    <a:lnTo>
                      <a:pt x="1072" y="540"/>
                    </a:lnTo>
                    <a:lnTo>
                      <a:pt x="1032" y="438"/>
                    </a:lnTo>
                    <a:lnTo>
                      <a:pt x="1008" y="390"/>
                    </a:lnTo>
                    <a:lnTo>
                      <a:pt x="973" y="345"/>
                    </a:lnTo>
                    <a:lnTo>
                      <a:pt x="856" y="398"/>
                    </a:lnTo>
                    <a:lnTo>
                      <a:pt x="839" y="379"/>
                    </a:lnTo>
                    <a:lnTo>
                      <a:pt x="955" y="317"/>
                    </a:lnTo>
                    <a:lnTo>
                      <a:pt x="941" y="288"/>
                    </a:lnTo>
                    <a:lnTo>
                      <a:pt x="919" y="260"/>
                    </a:lnTo>
                    <a:lnTo>
                      <a:pt x="803" y="314"/>
                    </a:lnTo>
                    <a:lnTo>
                      <a:pt x="747" y="348"/>
                    </a:lnTo>
                    <a:lnTo>
                      <a:pt x="690" y="380"/>
                    </a:lnTo>
                    <a:lnTo>
                      <a:pt x="634" y="402"/>
                    </a:lnTo>
                    <a:lnTo>
                      <a:pt x="575" y="410"/>
                    </a:lnTo>
                    <a:lnTo>
                      <a:pt x="513" y="398"/>
                    </a:lnTo>
                    <a:lnTo>
                      <a:pt x="448" y="358"/>
                    </a:lnTo>
                    <a:lnTo>
                      <a:pt x="81" y="452"/>
                    </a:lnTo>
                    <a:lnTo>
                      <a:pt x="78" y="412"/>
                    </a:lnTo>
                    <a:lnTo>
                      <a:pt x="98" y="368"/>
                    </a:lnTo>
                    <a:lnTo>
                      <a:pt x="7" y="391"/>
                    </a:lnTo>
                    <a:lnTo>
                      <a:pt x="0" y="329"/>
                    </a:lnTo>
                    <a:lnTo>
                      <a:pt x="20" y="293"/>
                    </a:lnTo>
                    <a:lnTo>
                      <a:pt x="48" y="256"/>
                    </a:lnTo>
                    <a:lnTo>
                      <a:pt x="78" y="220"/>
                    </a:lnTo>
                    <a:lnTo>
                      <a:pt x="109" y="188"/>
                    </a:lnTo>
                    <a:lnTo>
                      <a:pt x="149" y="147"/>
                    </a:lnTo>
                    <a:lnTo>
                      <a:pt x="71" y="147"/>
                    </a:lnTo>
                    <a:lnTo>
                      <a:pt x="71" y="82"/>
                    </a:lnTo>
                    <a:lnTo>
                      <a:pt x="524" y="0"/>
                    </a:lnTo>
                    <a:lnTo>
                      <a:pt x="508" y="44"/>
                    </a:lnTo>
                    <a:lnTo>
                      <a:pt x="395" y="88"/>
                    </a:lnTo>
                    <a:lnTo>
                      <a:pt x="310" y="173"/>
                    </a:lnTo>
                    <a:lnTo>
                      <a:pt x="274" y="224"/>
                    </a:lnTo>
                    <a:lnTo>
                      <a:pt x="238" y="277"/>
                    </a:lnTo>
                    <a:lnTo>
                      <a:pt x="204" y="328"/>
                    </a:lnTo>
                    <a:lnTo>
                      <a:pt x="168" y="376"/>
                    </a:lnTo>
                    <a:lnTo>
                      <a:pt x="233" y="361"/>
                    </a:lnTo>
                    <a:lnTo>
                      <a:pt x="238" y="312"/>
                    </a:lnTo>
                    <a:lnTo>
                      <a:pt x="271" y="345"/>
                    </a:lnTo>
                    <a:lnTo>
                      <a:pt x="303" y="343"/>
                    </a:lnTo>
                    <a:lnTo>
                      <a:pt x="307" y="275"/>
                    </a:lnTo>
                    <a:lnTo>
                      <a:pt x="325" y="295"/>
                    </a:lnTo>
                    <a:lnTo>
                      <a:pt x="331" y="328"/>
                    </a:lnTo>
                    <a:lnTo>
                      <a:pt x="369" y="321"/>
                    </a:lnTo>
                    <a:lnTo>
                      <a:pt x="371" y="286"/>
                    </a:lnTo>
                    <a:lnTo>
                      <a:pt x="390" y="289"/>
                    </a:lnTo>
                    <a:lnTo>
                      <a:pt x="393" y="312"/>
                    </a:lnTo>
                    <a:lnTo>
                      <a:pt x="442" y="301"/>
                    </a:lnTo>
                    <a:lnTo>
                      <a:pt x="438" y="239"/>
                    </a:lnTo>
                    <a:lnTo>
                      <a:pt x="456" y="259"/>
                    </a:lnTo>
                    <a:lnTo>
                      <a:pt x="463" y="293"/>
                    </a:lnTo>
                    <a:lnTo>
                      <a:pt x="503" y="292"/>
                    </a:lnTo>
                    <a:lnTo>
                      <a:pt x="511" y="242"/>
                    </a:lnTo>
                    <a:lnTo>
                      <a:pt x="531" y="253"/>
                    </a:lnTo>
                    <a:lnTo>
                      <a:pt x="536" y="277"/>
                    </a:lnTo>
                    <a:lnTo>
                      <a:pt x="562" y="272"/>
                    </a:lnTo>
                    <a:lnTo>
                      <a:pt x="568" y="210"/>
                    </a:lnTo>
                    <a:lnTo>
                      <a:pt x="598" y="266"/>
                    </a:lnTo>
                    <a:lnTo>
                      <a:pt x="621" y="252"/>
                    </a:lnTo>
                    <a:lnTo>
                      <a:pt x="628" y="220"/>
                    </a:lnTo>
                    <a:lnTo>
                      <a:pt x="649" y="249"/>
                    </a:lnTo>
                    <a:lnTo>
                      <a:pt x="692" y="237"/>
                    </a:lnTo>
                    <a:lnTo>
                      <a:pt x="685" y="172"/>
                    </a:lnTo>
                    <a:lnTo>
                      <a:pt x="712" y="191"/>
                    </a:lnTo>
                    <a:lnTo>
                      <a:pt x="725" y="227"/>
                    </a:lnTo>
                    <a:lnTo>
                      <a:pt x="751" y="219"/>
                    </a:lnTo>
                    <a:lnTo>
                      <a:pt x="751" y="187"/>
                    </a:lnTo>
                    <a:lnTo>
                      <a:pt x="792" y="205"/>
                    </a:lnTo>
                    <a:lnTo>
                      <a:pt x="808" y="169"/>
                    </a:lnTo>
                    <a:lnTo>
                      <a:pt x="826" y="195"/>
                    </a:lnTo>
                    <a:lnTo>
                      <a:pt x="854" y="177"/>
                    </a:lnTo>
                    <a:lnTo>
                      <a:pt x="850" y="136"/>
                    </a:lnTo>
                    <a:lnTo>
                      <a:pt x="871" y="146"/>
                    </a:lnTo>
                    <a:lnTo>
                      <a:pt x="874" y="166"/>
                    </a:lnTo>
                    <a:lnTo>
                      <a:pt x="903" y="169"/>
                    </a:lnTo>
                    <a:lnTo>
                      <a:pt x="917" y="137"/>
                    </a:lnTo>
                    <a:lnTo>
                      <a:pt x="936" y="153"/>
                    </a:lnTo>
                    <a:lnTo>
                      <a:pt x="962" y="147"/>
                    </a:lnTo>
                    <a:lnTo>
                      <a:pt x="972" y="96"/>
                    </a:lnTo>
                    <a:lnTo>
                      <a:pt x="998" y="125"/>
                    </a:lnTo>
                    <a:lnTo>
                      <a:pt x="1016" y="132"/>
                    </a:lnTo>
                    <a:lnTo>
                      <a:pt x="1030" y="118"/>
                    </a:lnTo>
                    <a:lnTo>
                      <a:pt x="1028" y="96"/>
                    </a:lnTo>
                    <a:lnTo>
                      <a:pt x="1059" y="100"/>
                    </a:lnTo>
                    <a:lnTo>
                      <a:pt x="1094" y="9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5" name="Freeform 291"/>
              <p:cNvSpPr>
                <a:spLocks/>
              </p:cNvSpPr>
              <p:nvPr/>
            </p:nvSpPr>
            <p:spPr bwMode="auto">
              <a:xfrm>
                <a:off x="4998" y="1875"/>
                <a:ext cx="400" cy="191"/>
              </a:xfrm>
              <a:custGeom>
                <a:avLst/>
                <a:gdLst>
                  <a:gd name="T0" fmla="*/ 17 w 1199"/>
                  <a:gd name="T1" fmla="*/ 478 h 574"/>
                  <a:gd name="T2" fmla="*/ 22 w 1199"/>
                  <a:gd name="T3" fmla="*/ 436 h 574"/>
                  <a:gd name="T4" fmla="*/ 70 w 1199"/>
                  <a:gd name="T5" fmla="*/ 441 h 574"/>
                  <a:gd name="T6" fmla="*/ 109 w 1199"/>
                  <a:gd name="T7" fmla="*/ 438 h 574"/>
                  <a:gd name="T8" fmla="*/ 123 w 1199"/>
                  <a:gd name="T9" fmla="*/ 405 h 574"/>
                  <a:gd name="T10" fmla="*/ 165 w 1199"/>
                  <a:gd name="T11" fmla="*/ 412 h 574"/>
                  <a:gd name="T12" fmla="*/ 207 w 1199"/>
                  <a:gd name="T13" fmla="*/ 379 h 574"/>
                  <a:gd name="T14" fmla="*/ 252 w 1199"/>
                  <a:gd name="T15" fmla="*/ 385 h 574"/>
                  <a:gd name="T16" fmla="*/ 288 w 1199"/>
                  <a:gd name="T17" fmla="*/ 369 h 574"/>
                  <a:gd name="T18" fmla="*/ 292 w 1199"/>
                  <a:gd name="T19" fmla="*/ 325 h 574"/>
                  <a:gd name="T20" fmla="*/ 146 w 1199"/>
                  <a:gd name="T21" fmla="*/ 256 h 574"/>
                  <a:gd name="T22" fmla="*/ 145 w 1199"/>
                  <a:gd name="T23" fmla="*/ 227 h 574"/>
                  <a:gd name="T24" fmla="*/ 267 w 1199"/>
                  <a:gd name="T25" fmla="*/ 252 h 574"/>
                  <a:gd name="T26" fmla="*/ 379 w 1199"/>
                  <a:gd name="T27" fmla="*/ 314 h 574"/>
                  <a:gd name="T28" fmla="*/ 483 w 1199"/>
                  <a:gd name="T29" fmla="*/ 368 h 574"/>
                  <a:gd name="T30" fmla="*/ 256 w 1199"/>
                  <a:gd name="T31" fmla="*/ 191 h 574"/>
                  <a:gd name="T32" fmla="*/ 470 w 1199"/>
                  <a:gd name="T33" fmla="*/ 293 h 574"/>
                  <a:gd name="T34" fmla="*/ 514 w 1199"/>
                  <a:gd name="T35" fmla="*/ 259 h 574"/>
                  <a:gd name="T36" fmla="*/ 579 w 1199"/>
                  <a:gd name="T37" fmla="*/ 277 h 574"/>
                  <a:gd name="T38" fmla="*/ 607 w 1199"/>
                  <a:gd name="T39" fmla="*/ 259 h 574"/>
                  <a:gd name="T40" fmla="*/ 644 w 1199"/>
                  <a:gd name="T41" fmla="*/ 213 h 574"/>
                  <a:gd name="T42" fmla="*/ 695 w 1199"/>
                  <a:gd name="T43" fmla="*/ 235 h 574"/>
                  <a:gd name="T44" fmla="*/ 731 w 1199"/>
                  <a:gd name="T45" fmla="*/ 223 h 574"/>
                  <a:gd name="T46" fmla="*/ 758 w 1199"/>
                  <a:gd name="T47" fmla="*/ 177 h 574"/>
                  <a:gd name="T48" fmla="*/ 820 w 1199"/>
                  <a:gd name="T49" fmla="*/ 183 h 574"/>
                  <a:gd name="T50" fmla="*/ 844 w 1199"/>
                  <a:gd name="T51" fmla="*/ 177 h 574"/>
                  <a:gd name="T52" fmla="*/ 881 w 1199"/>
                  <a:gd name="T53" fmla="*/ 132 h 574"/>
                  <a:gd name="T54" fmla="*/ 928 w 1199"/>
                  <a:gd name="T55" fmla="*/ 148 h 574"/>
                  <a:gd name="T56" fmla="*/ 954 w 1199"/>
                  <a:gd name="T57" fmla="*/ 132 h 574"/>
                  <a:gd name="T58" fmla="*/ 982 w 1199"/>
                  <a:gd name="T59" fmla="*/ 91 h 574"/>
                  <a:gd name="T60" fmla="*/ 1030 w 1199"/>
                  <a:gd name="T61" fmla="*/ 97 h 574"/>
                  <a:gd name="T62" fmla="*/ 1066 w 1199"/>
                  <a:gd name="T63" fmla="*/ 91 h 574"/>
                  <a:gd name="T64" fmla="*/ 1078 w 1199"/>
                  <a:gd name="T65" fmla="*/ 55 h 574"/>
                  <a:gd name="T66" fmla="*/ 1096 w 1199"/>
                  <a:gd name="T67" fmla="*/ 9 h 574"/>
                  <a:gd name="T68" fmla="*/ 1172 w 1199"/>
                  <a:gd name="T69" fmla="*/ 71 h 574"/>
                  <a:gd name="T70" fmla="*/ 926 w 1199"/>
                  <a:gd name="T71" fmla="*/ 255 h 574"/>
                  <a:gd name="T72" fmla="*/ 1013 w 1199"/>
                  <a:gd name="T73" fmla="*/ 447 h 574"/>
                  <a:gd name="T74" fmla="*/ 928 w 1199"/>
                  <a:gd name="T75" fmla="*/ 406 h 574"/>
                  <a:gd name="T76" fmla="*/ 884 w 1199"/>
                  <a:gd name="T77" fmla="*/ 347 h 574"/>
                  <a:gd name="T78" fmla="*/ 826 w 1199"/>
                  <a:gd name="T79" fmla="*/ 307 h 574"/>
                  <a:gd name="T80" fmla="*/ 589 w 1199"/>
                  <a:gd name="T81" fmla="*/ 380 h 574"/>
                  <a:gd name="T82" fmla="*/ 659 w 1199"/>
                  <a:gd name="T83" fmla="*/ 427 h 574"/>
                  <a:gd name="T84" fmla="*/ 626 w 1199"/>
                  <a:gd name="T85" fmla="*/ 478 h 574"/>
                  <a:gd name="T86" fmla="*/ 458 w 1199"/>
                  <a:gd name="T87" fmla="*/ 416 h 574"/>
                  <a:gd name="T88" fmla="*/ 422 w 1199"/>
                  <a:gd name="T89" fmla="*/ 497 h 574"/>
                  <a:gd name="T90" fmla="*/ 347 w 1199"/>
                  <a:gd name="T91" fmla="*/ 457 h 574"/>
                  <a:gd name="T92" fmla="*/ 112 w 1199"/>
                  <a:gd name="T93" fmla="*/ 494 h 574"/>
                  <a:gd name="T94" fmla="*/ 33 w 1199"/>
                  <a:gd name="T95" fmla="*/ 526 h 57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99"/>
                  <a:gd name="T145" fmla="*/ 0 h 574"/>
                  <a:gd name="T146" fmla="*/ 1199 w 1199"/>
                  <a:gd name="T147" fmla="*/ 574 h 57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99" h="574">
                    <a:moveTo>
                      <a:pt x="33" y="526"/>
                    </a:moveTo>
                    <a:lnTo>
                      <a:pt x="17" y="478"/>
                    </a:lnTo>
                    <a:lnTo>
                      <a:pt x="0" y="427"/>
                    </a:lnTo>
                    <a:lnTo>
                      <a:pt x="22" y="436"/>
                    </a:lnTo>
                    <a:lnTo>
                      <a:pt x="37" y="454"/>
                    </a:lnTo>
                    <a:lnTo>
                      <a:pt x="70" y="441"/>
                    </a:lnTo>
                    <a:lnTo>
                      <a:pt x="70" y="420"/>
                    </a:lnTo>
                    <a:lnTo>
                      <a:pt x="109" y="438"/>
                    </a:lnTo>
                    <a:lnTo>
                      <a:pt x="130" y="427"/>
                    </a:lnTo>
                    <a:lnTo>
                      <a:pt x="123" y="405"/>
                    </a:lnTo>
                    <a:lnTo>
                      <a:pt x="141" y="390"/>
                    </a:lnTo>
                    <a:lnTo>
                      <a:pt x="165" y="412"/>
                    </a:lnTo>
                    <a:lnTo>
                      <a:pt x="193" y="398"/>
                    </a:lnTo>
                    <a:lnTo>
                      <a:pt x="207" y="379"/>
                    </a:lnTo>
                    <a:lnTo>
                      <a:pt x="225" y="395"/>
                    </a:lnTo>
                    <a:lnTo>
                      <a:pt x="252" y="385"/>
                    </a:lnTo>
                    <a:lnTo>
                      <a:pt x="256" y="348"/>
                    </a:lnTo>
                    <a:lnTo>
                      <a:pt x="288" y="369"/>
                    </a:lnTo>
                    <a:lnTo>
                      <a:pt x="328" y="352"/>
                    </a:lnTo>
                    <a:lnTo>
                      <a:pt x="292" y="325"/>
                    </a:lnTo>
                    <a:lnTo>
                      <a:pt x="221" y="289"/>
                    </a:lnTo>
                    <a:lnTo>
                      <a:pt x="146" y="256"/>
                    </a:lnTo>
                    <a:lnTo>
                      <a:pt x="97" y="237"/>
                    </a:lnTo>
                    <a:lnTo>
                      <a:pt x="145" y="227"/>
                    </a:lnTo>
                    <a:lnTo>
                      <a:pt x="193" y="215"/>
                    </a:lnTo>
                    <a:lnTo>
                      <a:pt x="267" y="252"/>
                    </a:lnTo>
                    <a:lnTo>
                      <a:pt x="321" y="282"/>
                    </a:lnTo>
                    <a:lnTo>
                      <a:pt x="379" y="314"/>
                    </a:lnTo>
                    <a:lnTo>
                      <a:pt x="436" y="344"/>
                    </a:lnTo>
                    <a:lnTo>
                      <a:pt x="483" y="368"/>
                    </a:lnTo>
                    <a:lnTo>
                      <a:pt x="527" y="380"/>
                    </a:lnTo>
                    <a:lnTo>
                      <a:pt x="256" y="191"/>
                    </a:lnTo>
                    <a:lnTo>
                      <a:pt x="299" y="177"/>
                    </a:lnTo>
                    <a:lnTo>
                      <a:pt x="470" y="293"/>
                    </a:lnTo>
                    <a:lnTo>
                      <a:pt x="516" y="289"/>
                    </a:lnTo>
                    <a:lnTo>
                      <a:pt x="514" y="259"/>
                    </a:lnTo>
                    <a:lnTo>
                      <a:pt x="540" y="272"/>
                    </a:lnTo>
                    <a:lnTo>
                      <a:pt x="579" y="277"/>
                    </a:lnTo>
                    <a:lnTo>
                      <a:pt x="579" y="228"/>
                    </a:lnTo>
                    <a:lnTo>
                      <a:pt x="607" y="259"/>
                    </a:lnTo>
                    <a:lnTo>
                      <a:pt x="638" y="255"/>
                    </a:lnTo>
                    <a:lnTo>
                      <a:pt x="644" y="213"/>
                    </a:lnTo>
                    <a:lnTo>
                      <a:pt x="671" y="245"/>
                    </a:lnTo>
                    <a:lnTo>
                      <a:pt x="695" y="235"/>
                    </a:lnTo>
                    <a:lnTo>
                      <a:pt x="692" y="177"/>
                    </a:lnTo>
                    <a:lnTo>
                      <a:pt x="731" y="223"/>
                    </a:lnTo>
                    <a:lnTo>
                      <a:pt x="754" y="213"/>
                    </a:lnTo>
                    <a:lnTo>
                      <a:pt x="758" y="177"/>
                    </a:lnTo>
                    <a:lnTo>
                      <a:pt x="783" y="198"/>
                    </a:lnTo>
                    <a:lnTo>
                      <a:pt x="820" y="183"/>
                    </a:lnTo>
                    <a:lnTo>
                      <a:pt x="811" y="133"/>
                    </a:lnTo>
                    <a:lnTo>
                      <a:pt x="844" y="177"/>
                    </a:lnTo>
                    <a:lnTo>
                      <a:pt x="875" y="165"/>
                    </a:lnTo>
                    <a:lnTo>
                      <a:pt x="881" y="132"/>
                    </a:lnTo>
                    <a:lnTo>
                      <a:pt x="907" y="153"/>
                    </a:lnTo>
                    <a:lnTo>
                      <a:pt x="928" y="148"/>
                    </a:lnTo>
                    <a:lnTo>
                      <a:pt x="918" y="92"/>
                    </a:lnTo>
                    <a:lnTo>
                      <a:pt x="954" y="132"/>
                    </a:lnTo>
                    <a:lnTo>
                      <a:pt x="977" y="126"/>
                    </a:lnTo>
                    <a:lnTo>
                      <a:pt x="982" y="91"/>
                    </a:lnTo>
                    <a:lnTo>
                      <a:pt x="1013" y="115"/>
                    </a:lnTo>
                    <a:lnTo>
                      <a:pt x="1030" y="97"/>
                    </a:lnTo>
                    <a:lnTo>
                      <a:pt x="1017" y="56"/>
                    </a:lnTo>
                    <a:lnTo>
                      <a:pt x="1066" y="91"/>
                    </a:lnTo>
                    <a:lnTo>
                      <a:pt x="1077" y="82"/>
                    </a:lnTo>
                    <a:lnTo>
                      <a:pt x="1078" y="55"/>
                    </a:lnTo>
                    <a:lnTo>
                      <a:pt x="1113" y="70"/>
                    </a:lnTo>
                    <a:lnTo>
                      <a:pt x="1096" y="9"/>
                    </a:lnTo>
                    <a:lnTo>
                      <a:pt x="1129" y="0"/>
                    </a:lnTo>
                    <a:lnTo>
                      <a:pt x="1172" y="71"/>
                    </a:lnTo>
                    <a:lnTo>
                      <a:pt x="1199" y="154"/>
                    </a:lnTo>
                    <a:lnTo>
                      <a:pt x="926" y="255"/>
                    </a:lnTo>
                    <a:lnTo>
                      <a:pt x="975" y="347"/>
                    </a:lnTo>
                    <a:lnTo>
                      <a:pt x="1013" y="447"/>
                    </a:lnTo>
                    <a:lnTo>
                      <a:pt x="954" y="463"/>
                    </a:lnTo>
                    <a:lnTo>
                      <a:pt x="928" y="406"/>
                    </a:lnTo>
                    <a:lnTo>
                      <a:pt x="907" y="376"/>
                    </a:lnTo>
                    <a:lnTo>
                      <a:pt x="884" y="347"/>
                    </a:lnTo>
                    <a:lnTo>
                      <a:pt x="858" y="323"/>
                    </a:lnTo>
                    <a:lnTo>
                      <a:pt x="826" y="307"/>
                    </a:lnTo>
                    <a:lnTo>
                      <a:pt x="753" y="308"/>
                    </a:lnTo>
                    <a:lnTo>
                      <a:pt x="589" y="380"/>
                    </a:lnTo>
                    <a:lnTo>
                      <a:pt x="620" y="402"/>
                    </a:lnTo>
                    <a:lnTo>
                      <a:pt x="659" y="427"/>
                    </a:lnTo>
                    <a:lnTo>
                      <a:pt x="706" y="483"/>
                    </a:lnTo>
                    <a:lnTo>
                      <a:pt x="626" y="478"/>
                    </a:lnTo>
                    <a:lnTo>
                      <a:pt x="542" y="443"/>
                    </a:lnTo>
                    <a:lnTo>
                      <a:pt x="458" y="416"/>
                    </a:lnTo>
                    <a:lnTo>
                      <a:pt x="378" y="427"/>
                    </a:lnTo>
                    <a:lnTo>
                      <a:pt x="422" y="497"/>
                    </a:lnTo>
                    <a:lnTo>
                      <a:pt x="451" y="574"/>
                    </a:lnTo>
                    <a:lnTo>
                      <a:pt x="347" y="457"/>
                    </a:lnTo>
                    <a:lnTo>
                      <a:pt x="190" y="468"/>
                    </a:lnTo>
                    <a:lnTo>
                      <a:pt x="112" y="494"/>
                    </a:lnTo>
                    <a:lnTo>
                      <a:pt x="33" y="5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6" name="Freeform 292"/>
              <p:cNvSpPr>
                <a:spLocks/>
              </p:cNvSpPr>
              <p:nvPr/>
            </p:nvSpPr>
            <p:spPr bwMode="auto">
              <a:xfrm>
                <a:off x="4385" y="1803"/>
                <a:ext cx="255" cy="128"/>
              </a:xfrm>
              <a:custGeom>
                <a:avLst/>
                <a:gdLst>
                  <a:gd name="T0" fmla="*/ 657 w 766"/>
                  <a:gd name="T1" fmla="*/ 348 h 384"/>
                  <a:gd name="T2" fmla="*/ 439 w 766"/>
                  <a:gd name="T3" fmla="*/ 275 h 384"/>
                  <a:gd name="T4" fmla="*/ 388 w 766"/>
                  <a:gd name="T5" fmla="*/ 241 h 384"/>
                  <a:gd name="T6" fmla="*/ 333 w 766"/>
                  <a:gd name="T7" fmla="*/ 209 h 384"/>
                  <a:gd name="T8" fmla="*/ 275 w 766"/>
                  <a:gd name="T9" fmla="*/ 179 h 384"/>
                  <a:gd name="T10" fmla="*/ 216 w 766"/>
                  <a:gd name="T11" fmla="*/ 150 h 384"/>
                  <a:gd name="T12" fmla="*/ 160 w 766"/>
                  <a:gd name="T13" fmla="*/ 119 h 384"/>
                  <a:gd name="T14" fmla="*/ 0 w 766"/>
                  <a:gd name="T15" fmla="*/ 30 h 384"/>
                  <a:gd name="T16" fmla="*/ 24 w 766"/>
                  <a:gd name="T17" fmla="*/ 0 h 384"/>
                  <a:gd name="T18" fmla="*/ 131 w 766"/>
                  <a:gd name="T19" fmla="*/ 55 h 384"/>
                  <a:gd name="T20" fmla="*/ 188 w 766"/>
                  <a:gd name="T21" fmla="*/ 78 h 384"/>
                  <a:gd name="T22" fmla="*/ 248 w 766"/>
                  <a:gd name="T23" fmla="*/ 102 h 384"/>
                  <a:gd name="T24" fmla="*/ 307 w 766"/>
                  <a:gd name="T25" fmla="*/ 126 h 384"/>
                  <a:gd name="T26" fmla="*/ 365 w 766"/>
                  <a:gd name="T27" fmla="*/ 151 h 384"/>
                  <a:gd name="T28" fmla="*/ 423 w 766"/>
                  <a:gd name="T29" fmla="*/ 177 h 384"/>
                  <a:gd name="T30" fmla="*/ 482 w 766"/>
                  <a:gd name="T31" fmla="*/ 202 h 384"/>
                  <a:gd name="T32" fmla="*/ 598 w 766"/>
                  <a:gd name="T33" fmla="*/ 255 h 384"/>
                  <a:gd name="T34" fmla="*/ 712 w 766"/>
                  <a:gd name="T35" fmla="*/ 277 h 384"/>
                  <a:gd name="T36" fmla="*/ 766 w 766"/>
                  <a:gd name="T37" fmla="*/ 384 h 384"/>
                  <a:gd name="T38" fmla="*/ 657 w 766"/>
                  <a:gd name="T39" fmla="*/ 348 h 384"/>
                  <a:gd name="T40" fmla="*/ 657 w 766"/>
                  <a:gd name="T41" fmla="*/ 348 h 3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66"/>
                  <a:gd name="T64" fmla="*/ 0 h 384"/>
                  <a:gd name="T65" fmla="*/ 766 w 766"/>
                  <a:gd name="T66" fmla="*/ 384 h 3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66" h="384">
                    <a:moveTo>
                      <a:pt x="657" y="348"/>
                    </a:moveTo>
                    <a:lnTo>
                      <a:pt x="439" y="275"/>
                    </a:lnTo>
                    <a:lnTo>
                      <a:pt x="388" y="241"/>
                    </a:lnTo>
                    <a:lnTo>
                      <a:pt x="333" y="209"/>
                    </a:lnTo>
                    <a:lnTo>
                      <a:pt x="275" y="179"/>
                    </a:lnTo>
                    <a:lnTo>
                      <a:pt x="216" y="150"/>
                    </a:lnTo>
                    <a:lnTo>
                      <a:pt x="160" y="119"/>
                    </a:lnTo>
                    <a:lnTo>
                      <a:pt x="0" y="30"/>
                    </a:lnTo>
                    <a:lnTo>
                      <a:pt x="24" y="0"/>
                    </a:lnTo>
                    <a:lnTo>
                      <a:pt x="131" y="55"/>
                    </a:lnTo>
                    <a:lnTo>
                      <a:pt x="188" y="78"/>
                    </a:lnTo>
                    <a:lnTo>
                      <a:pt x="248" y="102"/>
                    </a:lnTo>
                    <a:lnTo>
                      <a:pt x="307" y="126"/>
                    </a:lnTo>
                    <a:lnTo>
                      <a:pt x="365" y="151"/>
                    </a:lnTo>
                    <a:lnTo>
                      <a:pt x="423" y="177"/>
                    </a:lnTo>
                    <a:lnTo>
                      <a:pt x="482" y="202"/>
                    </a:lnTo>
                    <a:lnTo>
                      <a:pt x="598" y="255"/>
                    </a:lnTo>
                    <a:lnTo>
                      <a:pt x="712" y="277"/>
                    </a:lnTo>
                    <a:lnTo>
                      <a:pt x="766" y="384"/>
                    </a:lnTo>
                    <a:lnTo>
                      <a:pt x="657" y="34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7" name="Freeform 293"/>
              <p:cNvSpPr>
                <a:spLocks/>
              </p:cNvSpPr>
              <p:nvPr/>
            </p:nvSpPr>
            <p:spPr bwMode="auto">
              <a:xfrm>
                <a:off x="4805" y="1888"/>
                <a:ext cx="261" cy="137"/>
              </a:xfrm>
              <a:custGeom>
                <a:avLst/>
                <a:gdLst>
                  <a:gd name="T0" fmla="*/ 102 w 784"/>
                  <a:gd name="T1" fmla="*/ 410 h 410"/>
                  <a:gd name="T2" fmla="*/ 123 w 784"/>
                  <a:gd name="T3" fmla="*/ 345 h 410"/>
                  <a:gd name="T4" fmla="*/ 0 w 784"/>
                  <a:gd name="T5" fmla="*/ 365 h 410"/>
                  <a:gd name="T6" fmla="*/ 21 w 784"/>
                  <a:gd name="T7" fmla="*/ 322 h 410"/>
                  <a:gd name="T8" fmla="*/ 622 w 784"/>
                  <a:gd name="T9" fmla="*/ 158 h 410"/>
                  <a:gd name="T10" fmla="*/ 594 w 784"/>
                  <a:gd name="T11" fmla="*/ 140 h 410"/>
                  <a:gd name="T12" fmla="*/ 560 w 784"/>
                  <a:gd name="T13" fmla="*/ 128 h 410"/>
                  <a:gd name="T14" fmla="*/ 492 w 784"/>
                  <a:gd name="T15" fmla="*/ 124 h 410"/>
                  <a:gd name="T16" fmla="*/ 92 w 784"/>
                  <a:gd name="T17" fmla="*/ 221 h 410"/>
                  <a:gd name="T18" fmla="*/ 143 w 784"/>
                  <a:gd name="T19" fmla="*/ 150 h 410"/>
                  <a:gd name="T20" fmla="*/ 232 w 784"/>
                  <a:gd name="T21" fmla="*/ 133 h 410"/>
                  <a:gd name="T22" fmla="*/ 305 w 784"/>
                  <a:gd name="T23" fmla="*/ 97 h 410"/>
                  <a:gd name="T24" fmla="*/ 371 w 784"/>
                  <a:gd name="T25" fmla="*/ 51 h 410"/>
                  <a:gd name="T26" fmla="*/ 405 w 784"/>
                  <a:gd name="T27" fmla="*/ 26 h 410"/>
                  <a:gd name="T28" fmla="*/ 441 w 784"/>
                  <a:gd name="T29" fmla="*/ 0 h 410"/>
                  <a:gd name="T30" fmla="*/ 784 w 784"/>
                  <a:gd name="T31" fmla="*/ 183 h 410"/>
                  <a:gd name="T32" fmla="*/ 631 w 784"/>
                  <a:gd name="T33" fmla="*/ 232 h 410"/>
                  <a:gd name="T34" fmla="*/ 531 w 784"/>
                  <a:gd name="T35" fmla="*/ 272 h 410"/>
                  <a:gd name="T36" fmla="*/ 478 w 784"/>
                  <a:gd name="T37" fmla="*/ 294 h 410"/>
                  <a:gd name="T38" fmla="*/ 426 w 784"/>
                  <a:gd name="T39" fmla="*/ 315 h 410"/>
                  <a:gd name="T40" fmla="*/ 323 w 784"/>
                  <a:gd name="T41" fmla="*/ 356 h 410"/>
                  <a:gd name="T42" fmla="*/ 230 w 784"/>
                  <a:gd name="T43" fmla="*/ 390 h 410"/>
                  <a:gd name="T44" fmla="*/ 153 w 784"/>
                  <a:gd name="T45" fmla="*/ 409 h 410"/>
                  <a:gd name="T46" fmla="*/ 102 w 784"/>
                  <a:gd name="T47" fmla="*/ 410 h 410"/>
                  <a:gd name="T48" fmla="*/ 102 w 784"/>
                  <a:gd name="T49" fmla="*/ 410 h 41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84"/>
                  <a:gd name="T76" fmla="*/ 0 h 410"/>
                  <a:gd name="T77" fmla="*/ 784 w 784"/>
                  <a:gd name="T78" fmla="*/ 410 h 41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84" h="410">
                    <a:moveTo>
                      <a:pt x="102" y="410"/>
                    </a:moveTo>
                    <a:lnTo>
                      <a:pt x="123" y="345"/>
                    </a:lnTo>
                    <a:lnTo>
                      <a:pt x="0" y="365"/>
                    </a:lnTo>
                    <a:lnTo>
                      <a:pt x="21" y="322"/>
                    </a:lnTo>
                    <a:lnTo>
                      <a:pt x="622" y="158"/>
                    </a:lnTo>
                    <a:lnTo>
                      <a:pt x="594" y="140"/>
                    </a:lnTo>
                    <a:lnTo>
                      <a:pt x="560" y="128"/>
                    </a:lnTo>
                    <a:lnTo>
                      <a:pt x="492" y="124"/>
                    </a:lnTo>
                    <a:lnTo>
                      <a:pt x="92" y="221"/>
                    </a:lnTo>
                    <a:lnTo>
                      <a:pt x="143" y="150"/>
                    </a:lnTo>
                    <a:lnTo>
                      <a:pt x="232" y="133"/>
                    </a:lnTo>
                    <a:lnTo>
                      <a:pt x="305" y="97"/>
                    </a:lnTo>
                    <a:lnTo>
                      <a:pt x="371" y="51"/>
                    </a:lnTo>
                    <a:lnTo>
                      <a:pt x="405" y="26"/>
                    </a:lnTo>
                    <a:lnTo>
                      <a:pt x="441" y="0"/>
                    </a:lnTo>
                    <a:lnTo>
                      <a:pt x="784" y="183"/>
                    </a:lnTo>
                    <a:lnTo>
                      <a:pt x="631" y="232"/>
                    </a:lnTo>
                    <a:lnTo>
                      <a:pt x="531" y="272"/>
                    </a:lnTo>
                    <a:lnTo>
                      <a:pt x="478" y="294"/>
                    </a:lnTo>
                    <a:lnTo>
                      <a:pt x="426" y="315"/>
                    </a:lnTo>
                    <a:lnTo>
                      <a:pt x="323" y="356"/>
                    </a:lnTo>
                    <a:lnTo>
                      <a:pt x="230" y="390"/>
                    </a:lnTo>
                    <a:lnTo>
                      <a:pt x="153" y="409"/>
                    </a:lnTo>
                    <a:lnTo>
                      <a:pt x="102" y="4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8" name="Freeform 294"/>
              <p:cNvSpPr>
                <a:spLocks/>
              </p:cNvSpPr>
              <p:nvPr/>
            </p:nvSpPr>
            <p:spPr bwMode="auto">
              <a:xfrm>
                <a:off x="4577" y="1611"/>
                <a:ext cx="608" cy="410"/>
              </a:xfrm>
              <a:custGeom>
                <a:avLst/>
                <a:gdLst>
                  <a:gd name="T0" fmla="*/ 83 w 1824"/>
                  <a:gd name="T1" fmla="*/ 617 h 1229"/>
                  <a:gd name="T2" fmla="*/ 190 w 1824"/>
                  <a:gd name="T3" fmla="*/ 823 h 1229"/>
                  <a:gd name="T4" fmla="*/ 270 w 1824"/>
                  <a:gd name="T5" fmla="*/ 933 h 1229"/>
                  <a:gd name="T6" fmla="*/ 420 w 1824"/>
                  <a:gd name="T7" fmla="*/ 1078 h 1229"/>
                  <a:gd name="T8" fmla="*/ 492 w 1824"/>
                  <a:gd name="T9" fmla="*/ 932 h 1229"/>
                  <a:gd name="T10" fmla="*/ 431 w 1824"/>
                  <a:gd name="T11" fmla="*/ 823 h 1229"/>
                  <a:gd name="T12" fmla="*/ 527 w 1824"/>
                  <a:gd name="T13" fmla="*/ 814 h 1229"/>
                  <a:gd name="T14" fmla="*/ 491 w 1824"/>
                  <a:gd name="T15" fmla="*/ 881 h 1229"/>
                  <a:gd name="T16" fmla="*/ 620 w 1824"/>
                  <a:gd name="T17" fmla="*/ 943 h 1229"/>
                  <a:gd name="T18" fmla="*/ 729 w 1824"/>
                  <a:gd name="T19" fmla="*/ 824 h 1229"/>
                  <a:gd name="T20" fmla="*/ 689 w 1824"/>
                  <a:gd name="T21" fmla="*/ 725 h 1229"/>
                  <a:gd name="T22" fmla="*/ 489 w 1824"/>
                  <a:gd name="T23" fmla="*/ 588 h 1229"/>
                  <a:gd name="T24" fmla="*/ 397 w 1824"/>
                  <a:gd name="T25" fmla="*/ 481 h 1229"/>
                  <a:gd name="T26" fmla="*/ 532 w 1824"/>
                  <a:gd name="T27" fmla="*/ 411 h 1229"/>
                  <a:gd name="T28" fmla="*/ 703 w 1824"/>
                  <a:gd name="T29" fmla="*/ 380 h 1229"/>
                  <a:gd name="T30" fmla="*/ 922 w 1824"/>
                  <a:gd name="T31" fmla="*/ 500 h 1229"/>
                  <a:gd name="T32" fmla="*/ 1099 w 1824"/>
                  <a:gd name="T33" fmla="*/ 393 h 1229"/>
                  <a:gd name="T34" fmla="*/ 1290 w 1824"/>
                  <a:gd name="T35" fmla="*/ 193 h 1229"/>
                  <a:gd name="T36" fmla="*/ 838 w 1824"/>
                  <a:gd name="T37" fmla="*/ 218 h 1229"/>
                  <a:gd name="T38" fmla="*/ 1061 w 1824"/>
                  <a:gd name="T39" fmla="*/ 157 h 1229"/>
                  <a:gd name="T40" fmla="*/ 1356 w 1824"/>
                  <a:gd name="T41" fmla="*/ 76 h 1229"/>
                  <a:gd name="T42" fmla="*/ 1505 w 1824"/>
                  <a:gd name="T43" fmla="*/ 26 h 1229"/>
                  <a:gd name="T44" fmla="*/ 1435 w 1824"/>
                  <a:gd name="T45" fmla="*/ 158 h 1229"/>
                  <a:gd name="T46" fmla="*/ 1327 w 1824"/>
                  <a:gd name="T47" fmla="*/ 277 h 1229"/>
                  <a:gd name="T48" fmla="*/ 1632 w 1824"/>
                  <a:gd name="T49" fmla="*/ 182 h 1229"/>
                  <a:gd name="T50" fmla="*/ 1574 w 1824"/>
                  <a:gd name="T51" fmla="*/ 320 h 1229"/>
                  <a:gd name="T52" fmla="*/ 1431 w 1824"/>
                  <a:gd name="T53" fmla="*/ 602 h 1229"/>
                  <a:gd name="T54" fmla="*/ 1820 w 1824"/>
                  <a:gd name="T55" fmla="*/ 816 h 1229"/>
                  <a:gd name="T56" fmla="*/ 1494 w 1824"/>
                  <a:gd name="T57" fmla="*/ 923 h 1229"/>
                  <a:gd name="T58" fmla="*/ 1824 w 1824"/>
                  <a:gd name="T59" fmla="*/ 863 h 1229"/>
                  <a:gd name="T60" fmla="*/ 1680 w 1824"/>
                  <a:gd name="T61" fmla="*/ 962 h 1229"/>
                  <a:gd name="T62" fmla="*/ 1474 w 1824"/>
                  <a:gd name="T63" fmla="*/ 952 h 1229"/>
                  <a:gd name="T64" fmla="*/ 1257 w 1824"/>
                  <a:gd name="T65" fmla="*/ 609 h 1229"/>
                  <a:gd name="T66" fmla="*/ 1325 w 1824"/>
                  <a:gd name="T67" fmla="*/ 573 h 1229"/>
                  <a:gd name="T68" fmla="*/ 1238 w 1824"/>
                  <a:gd name="T69" fmla="*/ 761 h 1229"/>
                  <a:gd name="T70" fmla="*/ 1377 w 1824"/>
                  <a:gd name="T71" fmla="*/ 522 h 1229"/>
                  <a:gd name="T72" fmla="*/ 1337 w 1824"/>
                  <a:gd name="T73" fmla="*/ 485 h 1229"/>
                  <a:gd name="T74" fmla="*/ 1296 w 1824"/>
                  <a:gd name="T75" fmla="*/ 306 h 1229"/>
                  <a:gd name="T76" fmla="*/ 1274 w 1824"/>
                  <a:gd name="T77" fmla="*/ 496 h 1229"/>
                  <a:gd name="T78" fmla="*/ 998 w 1824"/>
                  <a:gd name="T79" fmla="*/ 630 h 1229"/>
                  <a:gd name="T80" fmla="*/ 856 w 1824"/>
                  <a:gd name="T81" fmla="*/ 584 h 1229"/>
                  <a:gd name="T82" fmla="*/ 768 w 1824"/>
                  <a:gd name="T83" fmla="*/ 491 h 1229"/>
                  <a:gd name="T84" fmla="*/ 713 w 1824"/>
                  <a:gd name="T85" fmla="*/ 422 h 1229"/>
                  <a:gd name="T86" fmla="*/ 525 w 1824"/>
                  <a:gd name="T87" fmla="*/ 485 h 1229"/>
                  <a:gd name="T88" fmla="*/ 492 w 1824"/>
                  <a:gd name="T89" fmla="*/ 478 h 1229"/>
                  <a:gd name="T90" fmla="*/ 520 w 1824"/>
                  <a:gd name="T91" fmla="*/ 496 h 1229"/>
                  <a:gd name="T92" fmla="*/ 564 w 1824"/>
                  <a:gd name="T93" fmla="*/ 638 h 1229"/>
                  <a:gd name="T94" fmla="*/ 733 w 1824"/>
                  <a:gd name="T95" fmla="*/ 659 h 1229"/>
                  <a:gd name="T96" fmla="*/ 1132 w 1824"/>
                  <a:gd name="T97" fmla="*/ 832 h 1229"/>
                  <a:gd name="T98" fmla="*/ 910 w 1824"/>
                  <a:gd name="T99" fmla="*/ 798 h 1229"/>
                  <a:gd name="T100" fmla="*/ 772 w 1824"/>
                  <a:gd name="T101" fmla="*/ 985 h 1229"/>
                  <a:gd name="T102" fmla="*/ 806 w 1824"/>
                  <a:gd name="T103" fmla="*/ 1046 h 1229"/>
                  <a:gd name="T104" fmla="*/ 609 w 1824"/>
                  <a:gd name="T105" fmla="*/ 1178 h 1229"/>
                  <a:gd name="T106" fmla="*/ 496 w 1824"/>
                  <a:gd name="T107" fmla="*/ 1137 h 1229"/>
                  <a:gd name="T108" fmla="*/ 442 w 1824"/>
                  <a:gd name="T109" fmla="*/ 1166 h 1229"/>
                  <a:gd name="T110" fmla="*/ 393 w 1824"/>
                  <a:gd name="T111" fmla="*/ 1222 h 1229"/>
                  <a:gd name="T112" fmla="*/ 267 w 1824"/>
                  <a:gd name="T113" fmla="*/ 1111 h 1229"/>
                  <a:gd name="T114" fmla="*/ 186 w 1824"/>
                  <a:gd name="T115" fmla="*/ 984 h 1229"/>
                  <a:gd name="T116" fmla="*/ 44 w 1824"/>
                  <a:gd name="T117" fmla="*/ 719 h 12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4"/>
                  <a:gd name="T178" fmla="*/ 0 h 1229"/>
                  <a:gd name="T179" fmla="*/ 1824 w 1824"/>
                  <a:gd name="T180" fmla="*/ 1229 h 122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4" h="1229">
                    <a:moveTo>
                      <a:pt x="0" y="539"/>
                    </a:moveTo>
                    <a:lnTo>
                      <a:pt x="52" y="532"/>
                    </a:lnTo>
                    <a:lnTo>
                      <a:pt x="83" y="617"/>
                    </a:lnTo>
                    <a:lnTo>
                      <a:pt x="121" y="701"/>
                    </a:lnTo>
                    <a:lnTo>
                      <a:pt x="165" y="783"/>
                    </a:lnTo>
                    <a:lnTo>
                      <a:pt x="190" y="823"/>
                    </a:lnTo>
                    <a:lnTo>
                      <a:pt x="215" y="861"/>
                    </a:lnTo>
                    <a:lnTo>
                      <a:pt x="243" y="898"/>
                    </a:lnTo>
                    <a:lnTo>
                      <a:pt x="270" y="933"/>
                    </a:lnTo>
                    <a:lnTo>
                      <a:pt x="328" y="998"/>
                    </a:lnTo>
                    <a:lnTo>
                      <a:pt x="389" y="1054"/>
                    </a:lnTo>
                    <a:lnTo>
                      <a:pt x="420" y="1078"/>
                    </a:lnTo>
                    <a:lnTo>
                      <a:pt x="453" y="1098"/>
                    </a:lnTo>
                    <a:lnTo>
                      <a:pt x="575" y="995"/>
                    </a:lnTo>
                    <a:lnTo>
                      <a:pt x="492" y="932"/>
                    </a:lnTo>
                    <a:lnTo>
                      <a:pt x="431" y="870"/>
                    </a:lnTo>
                    <a:lnTo>
                      <a:pt x="349" y="714"/>
                    </a:lnTo>
                    <a:lnTo>
                      <a:pt x="431" y="823"/>
                    </a:lnTo>
                    <a:lnTo>
                      <a:pt x="575" y="763"/>
                    </a:lnTo>
                    <a:lnTo>
                      <a:pt x="561" y="788"/>
                    </a:lnTo>
                    <a:lnTo>
                      <a:pt x="527" y="814"/>
                    </a:lnTo>
                    <a:lnTo>
                      <a:pt x="485" y="838"/>
                    </a:lnTo>
                    <a:lnTo>
                      <a:pt x="456" y="854"/>
                    </a:lnTo>
                    <a:lnTo>
                      <a:pt x="491" y="881"/>
                    </a:lnTo>
                    <a:lnTo>
                      <a:pt x="533" y="909"/>
                    </a:lnTo>
                    <a:lnTo>
                      <a:pt x="579" y="933"/>
                    </a:lnTo>
                    <a:lnTo>
                      <a:pt x="620" y="943"/>
                    </a:lnTo>
                    <a:lnTo>
                      <a:pt x="663" y="898"/>
                    </a:lnTo>
                    <a:lnTo>
                      <a:pt x="695" y="863"/>
                    </a:lnTo>
                    <a:lnTo>
                      <a:pt x="729" y="824"/>
                    </a:lnTo>
                    <a:lnTo>
                      <a:pt x="784" y="748"/>
                    </a:lnTo>
                    <a:lnTo>
                      <a:pt x="787" y="700"/>
                    </a:lnTo>
                    <a:lnTo>
                      <a:pt x="689" y="725"/>
                    </a:lnTo>
                    <a:lnTo>
                      <a:pt x="606" y="723"/>
                    </a:lnTo>
                    <a:lnTo>
                      <a:pt x="540" y="682"/>
                    </a:lnTo>
                    <a:lnTo>
                      <a:pt x="489" y="588"/>
                    </a:lnTo>
                    <a:lnTo>
                      <a:pt x="460" y="564"/>
                    </a:lnTo>
                    <a:lnTo>
                      <a:pt x="444" y="525"/>
                    </a:lnTo>
                    <a:lnTo>
                      <a:pt x="397" y="481"/>
                    </a:lnTo>
                    <a:lnTo>
                      <a:pt x="411" y="424"/>
                    </a:lnTo>
                    <a:lnTo>
                      <a:pt x="471" y="420"/>
                    </a:lnTo>
                    <a:lnTo>
                      <a:pt x="532" y="411"/>
                    </a:lnTo>
                    <a:lnTo>
                      <a:pt x="582" y="390"/>
                    </a:lnTo>
                    <a:lnTo>
                      <a:pt x="627" y="378"/>
                    </a:lnTo>
                    <a:lnTo>
                      <a:pt x="703" y="380"/>
                    </a:lnTo>
                    <a:lnTo>
                      <a:pt x="759" y="419"/>
                    </a:lnTo>
                    <a:lnTo>
                      <a:pt x="797" y="492"/>
                    </a:lnTo>
                    <a:lnTo>
                      <a:pt x="922" y="500"/>
                    </a:lnTo>
                    <a:lnTo>
                      <a:pt x="983" y="493"/>
                    </a:lnTo>
                    <a:lnTo>
                      <a:pt x="1034" y="457"/>
                    </a:lnTo>
                    <a:lnTo>
                      <a:pt x="1099" y="393"/>
                    </a:lnTo>
                    <a:lnTo>
                      <a:pt x="1169" y="328"/>
                    </a:lnTo>
                    <a:lnTo>
                      <a:pt x="1235" y="262"/>
                    </a:lnTo>
                    <a:lnTo>
                      <a:pt x="1290" y="193"/>
                    </a:lnTo>
                    <a:lnTo>
                      <a:pt x="1332" y="143"/>
                    </a:lnTo>
                    <a:lnTo>
                      <a:pt x="852" y="248"/>
                    </a:lnTo>
                    <a:lnTo>
                      <a:pt x="838" y="218"/>
                    </a:lnTo>
                    <a:lnTo>
                      <a:pt x="881" y="203"/>
                    </a:lnTo>
                    <a:lnTo>
                      <a:pt x="957" y="176"/>
                    </a:lnTo>
                    <a:lnTo>
                      <a:pt x="1061" y="157"/>
                    </a:lnTo>
                    <a:lnTo>
                      <a:pt x="1172" y="121"/>
                    </a:lnTo>
                    <a:lnTo>
                      <a:pt x="1274" y="103"/>
                    </a:lnTo>
                    <a:lnTo>
                      <a:pt x="1356" y="76"/>
                    </a:lnTo>
                    <a:lnTo>
                      <a:pt x="1424" y="55"/>
                    </a:lnTo>
                    <a:lnTo>
                      <a:pt x="1471" y="0"/>
                    </a:lnTo>
                    <a:lnTo>
                      <a:pt x="1505" y="26"/>
                    </a:lnTo>
                    <a:lnTo>
                      <a:pt x="1543" y="52"/>
                    </a:lnTo>
                    <a:lnTo>
                      <a:pt x="1490" y="103"/>
                    </a:lnTo>
                    <a:lnTo>
                      <a:pt x="1435" y="158"/>
                    </a:lnTo>
                    <a:lnTo>
                      <a:pt x="1378" y="215"/>
                    </a:lnTo>
                    <a:lnTo>
                      <a:pt x="1327" y="270"/>
                    </a:lnTo>
                    <a:lnTo>
                      <a:pt x="1327" y="277"/>
                    </a:lnTo>
                    <a:lnTo>
                      <a:pt x="1367" y="332"/>
                    </a:lnTo>
                    <a:lnTo>
                      <a:pt x="1402" y="397"/>
                    </a:lnTo>
                    <a:lnTo>
                      <a:pt x="1632" y="182"/>
                    </a:lnTo>
                    <a:lnTo>
                      <a:pt x="1646" y="231"/>
                    </a:lnTo>
                    <a:lnTo>
                      <a:pt x="1609" y="278"/>
                    </a:lnTo>
                    <a:lnTo>
                      <a:pt x="1574" y="320"/>
                    </a:lnTo>
                    <a:lnTo>
                      <a:pt x="1519" y="389"/>
                    </a:lnTo>
                    <a:lnTo>
                      <a:pt x="1452" y="497"/>
                    </a:lnTo>
                    <a:lnTo>
                      <a:pt x="1431" y="602"/>
                    </a:lnTo>
                    <a:lnTo>
                      <a:pt x="1443" y="752"/>
                    </a:lnTo>
                    <a:lnTo>
                      <a:pt x="1822" y="766"/>
                    </a:lnTo>
                    <a:lnTo>
                      <a:pt x="1820" y="816"/>
                    </a:lnTo>
                    <a:lnTo>
                      <a:pt x="1620" y="843"/>
                    </a:lnTo>
                    <a:lnTo>
                      <a:pt x="1418" y="872"/>
                    </a:lnTo>
                    <a:lnTo>
                      <a:pt x="1494" y="923"/>
                    </a:lnTo>
                    <a:lnTo>
                      <a:pt x="1656" y="904"/>
                    </a:lnTo>
                    <a:lnTo>
                      <a:pt x="1755" y="879"/>
                    </a:lnTo>
                    <a:lnTo>
                      <a:pt x="1824" y="863"/>
                    </a:lnTo>
                    <a:lnTo>
                      <a:pt x="1822" y="914"/>
                    </a:lnTo>
                    <a:lnTo>
                      <a:pt x="1753" y="936"/>
                    </a:lnTo>
                    <a:lnTo>
                      <a:pt x="1680" y="962"/>
                    </a:lnTo>
                    <a:lnTo>
                      <a:pt x="1606" y="982"/>
                    </a:lnTo>
                    <a:lnTo>
                      <a:pt x="1536" y="995"/>
                    </a:lnTo>
                    <a:lnTo>
                      <a:pt x="1474" y="952"/>
                    </a:lnTo>
                    <a:lnTo>
                      <a:pt x="990" y="655"/>
                    </a:lnTo>
                    <a:lnTo>
                      <a:pt x="1006" y="635"/>
                    </a:lnTo>
                    <a:lnTo>
                      <a:pt x="1257" y="609"/>
                    </a:lnTo>
                    <a:lnTo>
                      <a:pt x="1292" y="502"/>
                    </a:lnTo>
                    <a:lnTo>
                      <a:pt x="1337" y="506"/>
                    </a:lnTo>
                    <a:lnTo>
                      <a:pt x="1325" y="573"/>
                    </a:lnTo>
                    <a:lnTo>
                      <a:pt x="1300" y="639"/>
                    </a:lnTo>
                    <a:lnTo>
                      <a:pt x="1270" y="701"/>
                    </a:lnTo>
                    <a:lnTo>
                      <a:pt x="1238" y="761"/>
                    </a:lnTo>
                    <a:lnTo>
                      <a:pt x="1283" y="783"/>
                    </a:lnTo>
                    <a:lnTo>
                      <a:pt x="1355" y="663"/>
                    </a:lnTo>
                    <a:lnTo>
                      <a:pt x="1377" y="522"/>
                    </a:lnTo>
                    <a:lnTo>
                      <a:pt x="1372" y="434"/>
                    </a:lnTo>
                    <a:lnTo>
                      <a:pt x="1345" y="346"/>
                    </a:lnTo>
                    <a:lnTo>
                      <a:pt x="1337" y="485"/>
                    </a:lnTo>
                    <a:lnTo>
                      <a:pt x="1296" y="485"/>
                    </a:lnTo>
                    <a:lnTo>
                      <a:pt x="1303" y="395"/>
                    </a:lnTo>
                    <a:lnTo>
                      <a:pt x="1296" y="306"/>
                    </a:lnTo>
                    <a:lnTo>
                      <a:pt x="1292" y="306"/>
                    </a:lnTo>
                    <a:lnTo>
                      <a:pt x="1101" y="496"/>
                    </a:lnTo>
                    <a:lnTo>
                      <a:pt x="1274" y="496"/>
                    </a:lnTo>
                    <a:lnTo>
                      <a:pt x="1260" y="542"/>
                    </a:lnTo>
                    <a:lnTo>
                      <a:pt x="841" y="544"/>
                    </a:lnTo>
                    <a:lnTo>
                      <a:pt x="998" y="630"/>
                    </a:lnTo>
                    <a:lnTo>
                      <a:pt x="983" y="650"/>
                    </a:lnTo>
                    <a:lnTo>
                      <a:pt x="897" y="612"/>
                    </a:lnTo>
                    <a:lnTo>
                      <a:pt x="856" y="584"/>
                    </a:lnTo>
                    <a:lnTo>
                      <a:pt x="817" y="558"/>
                    </a:lnTo>
                    <a:lnTo>
                      <a:pt x="784" y="532"/>
                    </a:lnTo>
                    <a:lnTo>
                      <a:pt x="768" y="491"/>
                    </a:lnTo>
                    <a:lnTo>
                      <a:pt x="750" y="449"/>
                    </a:lnTo>
                    <a:lnTo>
                      <a:pt x="735" y="433"/>
                    </a:lnTo>
                    <a:lnTo>
                      <a:pt x="713" y="422"/>
                    </a:lnTo>
                    <a:lnTo>
                      <a:pt x="620" y="431"/>
                    </a:lnTo>
                    <a:lnTo>
                      <a:pt x="561" y="499"/>
                    </a:lnTo>
                    <a:lnTo>
                      <a:pt x="525" y="485"/>
                    </a:lnTo>
                    <a:lnTo>
                      <a:pt x="532" y="455"/>
                    </a:lnTo>
                    <a:lnTo>
                      <a:pt x="509" y="459"/>
                    </a:lnTo>
                    <a:lnTo>
                      <a:pt x="492" y="478"/>
                    </a:lnTo>
                    <a:lnTo>
                      <a:pt x="482" y="521"/>
                    </a:lnTo>
                    <a:lnTo>
                      <a:pt x="498" y="532"/>
                    </a:lnTo>
                    <a:lnTo>
                      <a:pt x="520" y="496"/>
                    </a:lnTo>
                    <a:lnTo>
                      <a:pt x="560" y="518"/>
                    </a:lnTo>
                    <a:lnTo>
                      <a:pt x="543" y="579"/>
                    </a:lnTo>
                    <a:lnTo>
                      <a:pt x="564" y="638"/>
                    </a:lnTo>
                    <a:lnTo>
                      <a:pt x="595" y="667"/>
                    </a:lnTo>
                    <a:lnTo>
                      <a:pt x="635" y="681"/>
                    </a:lnTo>
                    <a:lnTo>
                      <a:pt x="733" y="659"/>
                    </a:lnTo>
                    <a:lnTo>
                      <a:pt x="757" y="641"/>
                    </a:lnTo>
                    <a:lnTo>
                      <a:pt x="783" y="645"/>
                    </a:lnTo>
                    <a:lnTo>
                      <a:pt x="1132" y="832"/>
                    </a:lnTo>
                    <a:lnTo>
                      <a:pt x="1103" y="853"/>
                    </a:lnTo>
                    <a:lnTo>
                      <a:pt x="1068" y="863"/>
                    </a:lnTo>
                    <a:lnTo>
                      <a:pt x="910" y="798"/>
                    </a:lnTo>
                    <a:lnTo>
                      <a:pt x="838" y="885"/>
                    </a:lnTo>
                    <a:lnTo>
                      <a:pt x="805" y="936"/>
                    </a:lnTo>
                    <a:lnTo>
                      <a:pt x="772" y="985"/>
                    </a:lnTo>
                    <a:lnTo>
                      <a:pt x="775" y="988"/>
                    </a:lnTo>
                    <a:lnTo>
                      <a:pt x="839" y="978"/>
                    </a:lnTo>
                    <a:lnTo>
                      <a:pt x="806" y="1046"/>
                    </a:lnTo>
                    <a:lnTo>
                      <a:pt x="622" y="1107"/>
                    </a:lnTo>
                    <a:lnTo>
                      <a:pt x="612" y="1115"/>
                    </a:lnTo>
                    <a:lnTo>
                      <a:pt x="609" y="1178"/>
                    </a:lnTo>
                    <a:lnTo>
                      <a:pt x="551" y="1195"/>
                    </a:lnTo>
                    <a:lnTo>
                      <a:pt x="543" y="1129"/>
                    </a:lnTo>
                    <a:lnTo>
                      <a:pt x="496" y="1137"/>
                    </a:lnTo>
                    <a:lnTo>
                      <a:pt x="498" y="1200"/>
                    </a:lnTo>
                    <a:lnTo>
                      <a:pt x="455" y="1211"/>
                    </a:lnTo>
                    <a:lnTo>
                      <a:pt x="442" y="1166"/>
                    </a:lnTo>
                    <a:lnTo>
                      <a:pt x="379" y="1188"/>
                    </a:lnTo>
                    <a:lnTo>
                      <a:pt x="379" y="1213"/>
                    </a:lnTo>
                    <a:lnTo>
                      <a:pt x="393" y="1222"/>
                    </a:lnTo>
                    <a:lnTo>
                      <a:pt x="342" y="1229"/>
                    </a:lnTo>
                    <a:lnTo>
                      <a:pt x="294" y="1151"/>
                    </a:lnTo>
                    <a:lnTo>
                      <a:pt x="267" y="1111"/>
                    </a:lnTo>
                    <a:lnTo>
                      <a:pt x="241" y="1069"/>
                    </a:lnTo>
                    <a:lnTo>
                      <a:pt x="214" y="1027"/>
                    </a:lnTo>
                    <a:lnTo>
                      <a:pt x="186" y="984"/>
                    </a:lnTo>
                    <a:lnTo>
                      <a:pt x="132" y="898"/>
                    </a:lnTo>
                    <a:lnTo>
                      <a:pt x="84" y="809"/>
                    </a:lnTo>
                    <a:lnTo>
                      <a:pt x="44" y="719"/>
                    </a:lnTo>
                    <a:lnTo>
                      <a:pt x="0" y="53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" name="Freeform 295"/>
              <p:cNvSpPr>
                <a:spLocks/>
              </p:cNvSpPr>
              <p:nvPr/>
            </p:nvSpPr>
            <p:spPr bwMode="auto">
              <a:xfrm>
                <a:off x="5180" y="1868"/>
                <a:ext cx="24" cy="49"/>
              </a:xfrm>
              <a:custGeom>
                <a:avLst/>
                <a:gdLst>
                  <a:gd name="T0" fmla="*/ 5 w 72"/>
                  <a:gd name="T1" fmla="*/ 147 h 147"/>
                  <a:gd name="T2" fmla="*/ 0 w 72"/>
                  <a:gd name="T3" fmla="*/ 0 h 147"/>
                  <a:gd name="T4" fmla="*/ 68 w 72"/>
                  <a:gd name="T5" fmla="*/ 1 h 147"/>
                  <a:gd name="T6" fmla="*/ 72 w 72"/>
                  <a:gd name="T7" fmla="*/ 123 h 147"/>
                  <a:gd name="T8" fmla="*/ 5 w 72"/>
                  <a:gd name="T9" fmla="*/ 147 h 147"/>
                  <a:gd name="T10" fmla="*/ 5 w 72"/>
                  <a:gd name="T11" fmla="*/ 147 h 14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2"/>
                  <a:gd name="T19" fmla="*/ 0 h 147"/>
                  <a:gd name="T20" fmla="*/ 72 w 72"/>
                  <a:gd name="T21" fmla="*/ 147 h 14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2" h="147">
                    <a:moveTo>
                      <a:pt x="5" y="147"/>
                    </a:moveTo>
                    <a:lnTo>
                      <a:pt x="0" y="0"/>
                    </a:lnTo>
                    <a:lnTo>
                      <a:pt x="68" y="1"/>
                    </a:lnTo>
                    <a:lnTo>
                      <a:pt x="72" y="123"/>
                    </a:lnTo>
                    <a:lnTo>
                      <a:pt x="5" y="14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0" name="Freeform 296"/>
              <p:cNvSpPr>
                <a:spLocks/>
              </p:cNvSpPr>
              <p:nvPr/>
            </p:nvSpPr>
            <p:spPr bwMode="auto">
              <a:xfrm>
                <a:off x="5048" y="1626"/>
                <a:ext cx="251" cy="284"/>
              </a:xfrm>
              <a:custGeom>
                <a:avLst/>
                <a:gdLst>
                  <a:gd name="T0" fmla="*/ 456 w 753"/>
                  <a:gd name="T1" fmla="*/ 794 h 852"/>
                  <a:gd name="T2" fmla="*/ 527 w 753"/>
                  <a:gd name="T3" fmla="*/ 769 h 852"/>
                  <a:gd name="T4" fmla="*/ 449 w 753"/>
                  <a:gd name="T5" fmla="*/ 764 h 852"/>
                  <a:gd name="T6" fmla="*/ 449 w 753"/>
                  <a:gd name="T7" fmla="*/ 729 h 852"/>
                  <a:gd name="T8" fmla="*/ 538 w 753"/>
                  <a:gd name="T9" fmla="*/ 728 h 852"/>
                  <a:gd name="T10" fmla="*/ 616 w 753"/>
                  <a:gd name="T11" fmla="*/ 692 h 852"/>
                  <a:gd name="T12" fmla="*/ 582 w 753"/>
                  <a:gd name="T13" fmla="*/ 610 h 852"/>
                  <a:gd name="T14" fmla="*/ 536 w 753"/>
                  <a:gd name="T15" fmla="*/ 534 h 852"/>
                  <a:gd name="T16" fmla="*/ 274 w 753"/>
                  <a:gd name="T17" fmla="*/ 570 h 852"/>
                  <a:gd name="T18" fmla="*/ 14 w 753"/>
                  <a:gd name="T19" fmla="*/ 612 h 852"/>
                  <a:gd name="T20" fmla="*/ 0 w 753"/>
                  <a:gd name="T21" fmla="*/ 556 h 852"/>
                  <a:gd name="T22" fmla="*/ 517 w 753"/>
                  <a:gd name="T23" fmla="*/ 498 h 852"/>
                  <a:gd name="T24" fmla="*/ 0 w 753"/>
                  <a:gd name="T25" fmla="*/ 499 h 852"/>
                  <a:gd name="T26" fmla="*/ 18 w 753"/>
                  <a:gd name="T27" fmla="*/ 465 h 852"/>
                  <a:gd name="T28" fmla="*/ 489 w 753"/>
                  <a:gd name="T29" fmla="*/ 463 h 852"/>
                  <a:gd name="T30" fmla="*/ 459 w 753"/>
                  <a:gd name="T31" fmla="*/ 411 h 852"/>
                  <a:gd name="T32" fmla="*/ 420 w 753"/>
                  <a:gd name="T33" fmla="*/ 371 h 852"/>
                  <a:gd name="T34" fmla="*/ 376 w 753"/>
                  <a:gd name="T35" fmla="*/ 326 h 852"/>
                  <a:gd name="T36" fmla="*/ 328 w 753"/>
                  <a:gd name="T37" fmla="*/ 282 h 852"/>
                  <a:gd name="T38" fmla="*/ 284 w 753"/>
                  <a:gd name="T39" fmla="*/ 242 h 852"/>
                  <a:gd name="T40" fmla="*/ 229 w 753"/>
                  <a:gd name="T41" fmla="*/ 195 h 852"/>
                  <a:gd name="T42" fmla="*/ 222 w 753"/>
                  <a:gd name="T43" fmla="*/ 192 h 852"/>
                  <a:gd name="T44" fmla="*/ 205 w 753"/>
                  <a:gd name="T45" fmla="*/ 151 h 852"/>
                  <a:gd name="T46" fmla="*/ 338 w 753"/>
                  <a:gd name="T47" fmla="*/ 0 h 852"/>
                  <a:gd name="T48" fmla="*/ 402 w 753"/>
                  <a:gd name="T49" fmla="*/ 71 h 852"/>
                  <a:gd name="T50" fmla="*/ 442 w 753"/>
                  <a:gd name="T51" fmla="*/ 131 h 852"/>
                  <a:gd name="T52" fmla="*/ 484 w 753"/>
                  <a:gd name="T53" fmla="*/ 200 h 852"/>
                  <a:gd name="T54" fmla="*/ 525 w 753"/>
                  <a:gd name="T55" fmla="*/ 275 h 852"/>
                  <a:gd name="T56" fmla="*/ 562 w 753"/>
                  <a:gd name="T57" fmla="*/ 344 h 852"/>
                  <a:gd name="T58" fmla="*/ 594 w 753"/>
                  <a:gd name="T59" fmla="*/ 404 h 852"/>
                  <a:gd name="T60" fmla="*/ 619 w 753"/>
                  <a:gd name="T61" fmla="*/ 450 h 852"/>
                  <a:gd name="T62" fmla="*/ 753 w 753"/>
                  <a:gd name="T63" fmla="*/ 476 h 852"/>
                  <a:gd name="T64" fmla="*/ 675 w 753"/>
                  <a:gd name="T65" fmla="*/ 520 h 852"/>
                  <a:gd name="T66" fmla="*/ 749 w 753"/>
                  <a:gd name="T67" fmla="*/ 712 h 852"/>
                  <a:gd name="T68" fmla="*/ 720 w 753"/>
                  <a:gd name="T69" fmla="*/ 732 h 852"/>
                  <a:gd name="T70" fmla="*/ 684 w 753"/>
                  <a:gd name="T71" fmla="*/ 750 h 852"/>
                  <a:gd name="T72" fmla="*/ 607 w 753"/>
                  <a:gd name="T73" fmla="*/ 782 h 852"/>
                  <a:gd name="T74" fmla="*/ 460 w 753"/>
                  <a:gd name="T75" fmla="*/ 852 h 852"/>
                  <a:gd name="T76" fmla="*/ 456 w 753"/>
                  <a:gd name="T77" fmla="*/ 794 h 852"/>
                  <a:gd name="T78" fmla="*/ 456 w 753"/>
                  <a:gd name="T79" fmla="*/ 794 h 85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753"/>
                  <a:gd name="T121" fmla="*/ 0 h 852"/>
                  <a:gd name="T122" fmla="*/ 753 w 753"/>
                  <a:gd name="T123" fmla="*/ 852 h 85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753" h="852">
                    <a:moveTo>
                      <a:pt x="456" y="794"/>
                    </a:moveTo>
                    <a:lnTo>
                      <a:pt x="527" y="769"/>
                    </a:lnTo>
                    <a:lnTo>
                      <a:pt x="449" y="764"/>
                    </a:lnTo>
                    <a:lnTo>
                      <a:pt x="449" y="729"/>
                    </a:lnTo>
                    <a:lnTo>
                      <a:pt x="538" y="728"/>
                    </a:lnTo>
                    <a:lnTo>
                      <a:pt x="616" y="692"/>
                    </a:lnTo>
                    <a:lnTo>
                      <a:pt x="582" y="610"/>
                    </a:lnTo>
                    <a:lnTo>
                      <a:pt x="536" y="534"/>
                    </a:lnTo>
                    <a:lnTo>
                      <a:pt x="274" y="570"/>
                    </a:lnTo>
                    <a:lnTo>
                      <a:pt x="14" y="612"/>
                    </a:lnTo>
                    <a:lnTo>
                      <a:pt x="0" y="556"/>
                    </a:lnTo>
                    <a:lnTo>
                      <a:pt x="517" y="498"/>
                    </a:lnTo>
                    <a:lnTo>
                      <a:pt x="0" y="499"/>
                    </a:lnTo>
                    <a:lnTo>
                      <a:pt x="18" y="465"/>
                    </a:lnTo>
                    <a:lnTo>
                      <a:pt x="489" y="463"/>
                    </a:lnTo>
                    <a:lnTo>
                      <a:pt x="459" y="411"/>
                    </a:lnTo>
                    <a:lnTo>
                      <a:pt x="420" y="371"/>
                    </a:lnTo>
                    <a:lnTo>
                      <a:pt x="376" y="326"/>
                    </a:lnTo>
                    <a:lnTo>
                      <a:pt x="328" y="282"/>
                    </a:lnTo>
                    <a:lnTo>
                      <a:pt x="284" y="242"/>
                    </a:lnTo>
                    <a:lnTo>
                      <a:pt x="229" y="195"/>
                    </a:lnTo>
                    <a:lnTo>
                      <a:pt x="222" y="192"/>
                    </a:lnTo>
                    <a:lnTo>
                      <a:pt x="205" y="151"/>
                    </a:lnTo>
                    <a:lnTo>
                      <a:pt x="338" y="0"/>
                    </a:lnTo>
                    <a:lnTo>
                      <a:pt x="402" y="71"/>
                    </a:lnTo>
                    <a:lnTo>
                      <a:pt x="442" y="131"/>
                    </a:lnTo>
                    <a:lnTo>
                      <a:pt x="484" y="200"/>
                    </a:lnTo>
                    <a:lnTo>
                      <a:pt x="525" y="275"/>
                    </a:lnTo>
                    <a:lnTo>
                      <a:pt x="562" y="344"/>
                    </a:lnTo>
                    <a:lnTo>
                      <a:pt x="594" y="404"/>
                    </a:lnTo>
                    <a:lnTo>
                      <a:pt x="619" y="450"/>
                    </a:lnTo>
                    <a:lnTo>
                      <a:pt x="753" y="476"/>
                    </a:lnTo>
                    <a:lnTo>
                      <a:pt x="675" y="520"/>
                    </a:lnTo>
                    <a:lnTo>
                      <a:pt x="749" y="712"/>
                    </a:lnTo>
                    <a:lnTo>
                      <a:pt x="720" y="732"/>
                    </a:lnTo>
                    <a:lnTo>
                      <a:pt x="684" y="750"/>
                    </a:lnTo>
                    <a:lnTo>
                      <a:pt x="607" y="782"/>
                    </a:lnTo>
                    <a:lnTo>
                      <a:pt x="460" y="852"/>
                    </a:lnTo>
                    <a:lnTo>
                      <a:pt x="456" y="79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1" name="Freeform 297"/>
              <p:cNvSpPr>
                <a:spLocks/>
              </p:cNvSpPr>
              <p:nvPr/>
            </p:nvSpPr>
            <p:spPr bwMode="auto">
              <a:xfrm>
                <a:off x="5268" y="1594"/>
                <a:ext cx="123" cy="289"/>
              </a:xfrm>
              <a:custGeom>
                <a:avLst/>
                <a:gdLst>
                  <a:gd name="T0" fmla="*/ 0 w 369"/>
                  <a:gd name="T1" fmla="*/ 310 h 867"/>
                  <a:gd name="T2" fmla="*/ 18 w 369"/>
                  <a:gd name="T3" fmla="*/ 287 h 867"/>
                  <a:gd name="T4" fmla="*/ 34 w 369"/>
                  <a:gd name="T5" fmla="*/ 322 h 867"/>
                  <a:gd name="T6" fmla="*/ 263 w 369"/>
                  <a:gd name="T7" fmla="*/ 54 h 867"/>
                  <a:gd name="T8" fmla="*/ 307 w 369"/>
                  <a:gd name="T9" fmla="*/ 26 h 867"/>
                  <a:gd name="T10" fmla="*/ 369 w 369"/>
                  <a:gd name="T11" fmla="*/ 0 h 867"/>
                  <a:gd name="T12" fmla="*/ 113 w 369"/>
                  <a:gd name="T13" fmla="*/ 430 h 867"/>
                  <a:gd name="T14" fmla="*/ 138 w 369"/>
                  <a:gd name="T15" fmla="*/ 480 h 867"/>
                  <a:gd name="T16" fmla="*/ 165 w 369"/>
                  <a:gd name="T17" fmla="*/ 532 h 867"/>
                  <a:gd name="T18" fmla="*/ 194 w 369"/>
                  <a:gd name="T19" fmla="*/ 587 h 867"/>
                  <a:gd name="T20" fmla="*/ 223 w 369"/>
                  <a:gd name="T21" fmla="*/ 642 h 867"/>
                  <a:gd name="T22" fmla="*/ 251 w 369"/>
                  <a:gd name="T23" fmla="*/ 697 h 867"/>
                  <a:gd name="T24" fmla="*/ 278 w 369"/>
                  <a:gd name="T25" fmla="*/ 752 h 867"/>
                  <a:gd name="T26" fmla="*/ 328 w 369"/>
                  <a:gd name="T27" fmla="*/ 857 h 867"/>
                  <a:gd name="T28" fmla="*/ 293 w 369"/>
                  <a:gd name="T29" fmla="*/ 867 h 867"/>
                  <a:gd name="T30" fmla="*/ 249 w 369"/>
                  <a:gd name="T31" fmla="*/ 783 h 867"/>
                  <a:gd name="T32" fmla="*/ 204 w 369"/>
                  <a:gd name="T33" fmla="*/ 697 h 867"/>
                  <a:gd name="T34" fmla="*/ 178 w 369"/>
                  <a:gd name="T35" fmla="*/ 648 h 867"/>
                  <a:gd name="T36" fmla="*/ 151 w 369"/>
                  <a:gd name="T37" fmla="*/ 597 h 867"/>
                  <a:gd name="T38" fmla="*/ 125 w 369"/>
                  <a:gd name="T39" fmla="*/ 546 h 867"/>
                  <a:gd name="T40" fmla="*/ 99 w 369"/>
                  <a:gd name="T41" fmla="*/ 496 h 867"/>
                  <a:gd name="T42" fmla="*/ 52 w 369"/>
                  <a:gd name="T43" fmla="*/ 407 h 867"/>
                  <a:gd name="T44" fmla="*/ 16 w 369"/>
                  <a:gd name="T45" fmla="*/ 342 h 867"/>
                  <a:gd name="T46" fmla="*/ 0 w 369"/>
                  <a:gd name="T47" fmla="*/ 310 h 867"/>
                  <a:gd name="T48" fmla="*/ 0 w 369"/>
                  <a:gd name="T49" fmla="*/ 310 h 8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69"/>
                  <a:gd name="T76" fmla="*/ 0 h 867"/>
                  <a:gd name="T77" fmla="*/ 369 w 369"/>
                  <a:gd name="T78" fmla="*/ 867 h 86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69" h="867">
                    <a:moveTo>
                      <a:pt x="0" y="310"/>
                    </a:moveTo>
                    <a:lnTo>
                      <a:pt x="18" y="287"/>
                    </a:lnTo>
                    <a:lnTo>
                      <a:pt x="34" y="322"/>
                    </a:lnTo>
                    <a:lnTo>
                      <a:pt x="263" y="54"/>
                    </a:lnTo>
                    <a:lnTo>
                      <a:pt x="307" y="26"/>
                    </a:lnTo>
                    <a:lnTo>
                      <a:pt x="369" y="0"/>
                    </a:lnTo>
                    <a:lnTo>
                      <a:pt x="113" y="430"/>
                    </a:lnTo>
                    <a:lnTo>
                      <a:pt x="138" y="480"/>
                    </a:lnTo>
                    <a:lnTo>
                      <a:pt x="165" y="532"/>
                    </a:lnTo>
                    <a:lnTo>
                      <a:pt x="194" y="587"/>
                    </a:lnTo>
                    <a:lnTo>
                      <a:pt x="223" y="642"/>
                    </a:lnTo>
                    <a:lnTo>
                      <a:pt x="251" y="697"/>
                    </a:lnTo>
                    <a:lnTo>
                      <a:pt x="278" y="752"/>
                    </a:lnTo>
                    <a:lnTo>
                      <a:pt x="328" y="857"/>
                    </a:lnTo>
                    <a:lnTo>
                      <a:pt x="293" y="867"/>
                    </a:lnTo>
                    <a:lnTo>
                      <a:pt x="249" y="783"/>
                    </a:lnTo>
                    <a:lnTo>
                      <a:pt x="204" y="697"/>
                    </a:lnTo>
                    <a:lnTo>
                      <a:pt x="178" y="648"/>
                    </a:lnTo>
                    <a:lnTo>
                      <a:pt x="151" y="597"/>
                    </a:lnTo>
                    <a:lnTo>
                      <a:pt x="125" y="546"/>
                    </a:lnTo>
                    <a:lnTo>
                      <a:pt x="99" y="496"/>
                    </a:lnTo>
                    <a:lnTo>
                      <a:pt x="52" y="407"/>
                    </a:lnTo>
                    <a:lnTo>
                      <a:pt x="16" y="342"/>
                    </a:lnTo>
                    <a:lnTo>
                      <a:pt x="0" y="3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2" name="Freeform 298"/>
              <p:cNvSpPr>
                <a:spLocks/>
              </p:cNvSpPr>
              <p:nvPr/>
            </p:nvSpPr>
            <p:spPr bwMode="auto">
              <a:xfrm>
                <a:off x="4774" y="1769"/>
                <a:ext cx="42" cy="44"/>
              </a:xfrm>
              <a:custGeom>
                <a:avLst/>
                <a:gdLst>
                  <a:gd name="T0" fmla="*/ 0 w 127"/>
                  <a:gd name="T1" fmla="*/ 88 h 131"/>
                  <a:gd name="T2" fmla="*/ 11 w 127"/>
                  <a:gd name="T3" fmla="*/ 34 h 131"/>
                  <a:gd name="T4" fmla="*/ 50 w 127"/>
                  <a:gd name="T5" fmla="*/ 3 h 131"/>
                  <a:gd name="T6" fmla="*/ 95 w 127"/>
                  <a:gd name="T7" fmla="*/ 0 h 131"/>
                  <a:gd name="T8" fmla="*/ 127 w 127"/>
                  <a:gd name="T9" fmla="*/ 34 h 131"/>
                  <a:gd name="T10" fmla="*/ 119 w 127"/>
                  <a:gd name="T11" fmla="*/ 96 h 131"/>
                  <a:gd name="T12" fmla="*/ 77 w 127"/>
                  <a:gd name="T13" fmla="*/ 131 h 131"/>
                  <a:gd name="T14" fmla="*/ 29 w 127"/>
                  <a:gd name="T15" fmla="*/ 130 h 131"/>
                  <a:gd name="T16" fmla="*/ 0 w 127"/>
                  <a:gd name="T17" fmla="*/ 88 h 131"/>
                  <a:gd name="T18" fmla="*/ 0 w 127"/>
                  <a:gd name="T19" fmla="*/ 88 h 1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7"/>
                  <a:gd name="T31" fmla="*/ 0 h 131"/>
                  <a:gd name="T32" fmla="*/ 127 w 127"/>
                  <a:gd name="T33" fmla="*/ 131 h 1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7" h="131">
                    <a:moveTo>
                      <a:pt x="0" y="88"/>
                    </a:moveTo>
                    <a:lnTo>
                      <a:pt x="11" y="34"/>
                    </a:lnTo>
                    <a:lnTo>
                      <a:pt x="50" y="3"/>
                    </a:lnTo>
                    <a:lnTo>
                      <a:pt x="95" y="0"/>
                    </a:lnTo>
                    <a:lnTo>
                      <a:pt x="127" y="34"/>
                    </a:lnTo>
                    <a:lnTo>
                      <a:pt x="119" y="96"/>
                    </a:lnTo>
                    <a:lnTo>
                      <a:pt x="77" y="131"/>
                    </a:lnTo>
                    <a:lnTo>
                      <a:pt x="29" y="13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3" name="Freeform 299"/>
              <p:cNvSpPr>
                <a:spLocks/>
              </p:cNvSpPr>
              <p:nvPr/>
            </p:nvSpPr>
            <p:spPr bwMode="auto">
              <a:xfrm>
                <a:off x="4572" y="1615"/>
                <a:ext cx="135" cy="181"/>
              </a:xfrm>
              <a:custGeom>
                <a:avLst/>
                <a:gdLst>
                  <a:gd name="T0" fmla="*/ 217 w 404"/>
                  <a:gd name="T1" fmla="*/ 131 h 543"/>
                  <a:gd name="T2" fmla="*/ 167 w 404"/>
                  <a:gd name="T3" fmla="*/ 156 h 543"/>
                  <a:gd name="T4" fmla="*/ 125 w 404"/>
                  <a:gd name="T5" fmla="*/ 191 h 543"/>
                  <a:gd name="T6" fmla="*/ 82 w 404"/>
                  <a:gd name="T7" fmla="*/ 268 h 543"/>
                  <a:gd name="T8" fmla="*/ 64 w 404"/>
                  <a:gd name="T9" fmla="*/ 356 h 543"/>
                  <a:gd name="T10" fmla="*/ 67 w 404"/>
                  <a:gd name="T11" fmla="*/ 536 h 543"/>
                  <a:gd name="T12" fmla="*/ 16 w 404"/>
                  <a:gd name="T13" fmla="*/ 543 h 543"/>
                  <a:gd name="T14" fmla="*/ 0 w 404"/>
                  <a:gd name="T15" fmla="*/ 430 h 543"/>
                  <a:gd name="T16" fmla="*/ 13 w 404"/>
                  <a:gd name="T17" fmla="*/ 313 h 543"/>
                  <a:gd name="T18" fmla="*/ 75 w 404"/>
                  <a:gd name="T19" fmla="*/ 140 h 543"/>
                  <a:gd name="T20" fmla="*/ 200 w 404"/>
                  <a:gd name="T21" fmla="*/ 67 h 543"/>
                  <a:gd name="T22" fmla="*/ 404 w 404"/>
                  <a:gd name="T23" fmla="*/ 0 h 543"/>
                  <a:gd name="T24" fmla="*/ 217 w 404"/>
                  <a:gd name="T25" fmla="*/ 131 h 543"/>
                  <a:gd name="T26" fmla="*/ 217 w 404"/>
                  <a:gd name="T27" fmla="*/ 131 h 54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4"/>
                  <a:gd name="T43" fmla="*/ 0 h 543"/>
                  <a:gd name="T44" fmla="*/ 404 w 404"/>
                  <a:gd name="T45" fmla="*/ 543 h 54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4" h="543">
                    <a:moveTo>
                      <a:pt x="217" y="131"/>
                    </a:moveTo>
                    <a:lnTo>
                      <a:pt x="167" y="156"/>
                    </a:lnTo>
                    <a:lnTo>
                      <a:pt x="125" y="191"/>
                    </a:lnTo>
                    <a:lnTo>
                      <a:pt x="82" y="268"/>
                    </a:lnTo>
                    <a:lnTo>
                      <a:pt x="64" y="356"/>
                    </a:lnTo>
                    <a:lnTo>
                      <a:pt x="67" y="536"/>
                    </a:lnTo>
                    <a:lnTo>
                      <a:pt x="16" y="543"/>
                    </a:lnTo>
                    <a:lnTo>
                      <a:pt x="0" y="430"/>
                    </a:lnTo>
                    <a:lnTo>
                      <a:pt x="13" y="313"/>
                    </a:lnTo>
                    <a:lnTo>
                      <a:pt x="75" y="140"/>
                    </a:lnTo>
                    <a:lnTo>
                      <a:pt x="200" y="67"/>
                    </a:lnTo>
                    <a:lnTo>
                      <a:pt x="404" y="0"/>
                    </a:lnTo>
                    <a:lnTo>
                      <a:pt x="217" y="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4" name="Freeform 300"/>
              <p:cNvSpPr>
                <a:spLocks/>
              </p:cNvSpPr>
              <p:nvPr/>
            </p:nvSpPr>
            <p:spPr bwMode="auto">
              <a:xfrm>
                <a:off x="5089" y="1525"/>
                <a:ext cx="192" cy="180"/>
              </a:xfrm>
              <a:custGeom>
                <a:avLst/>
                <a:gdLst>
                  <a:gd name="T0" fmla="*/ 238 w 576"/>
                  <a:gd name="T1" fmla="*/ 42 h 542"/>
                  <a:gd name="T2" fmla="*/ 304 w 576"/>
                  <a:gd name="T3" fmla="*/ 0 h 542"/>
                  <a:gd name="T4" fmla="*/ 576 w 576"/>
                  <a:gd name="T5" fmla="*/ 518 h 542"/>
                  <a:gd name="T6" fmla="*/ 559 w 576"/>
                  <a:gd name="T7" fmla="*/ 542 h 542"/>
                  <a:gd name="T8" fmla="*/ 515 w 576"/>
                  <a:gd name="T9" fmla="*/ 479 h 542"/>
                  <a:gd name="T10" fmla="*/ 471 w 576"/>
                  <a:gd name="T11" fmla="*/ 410 h 542"/>
                  <a:gd name="T12" fmla="*/ 446 w 576"/>
                  <a:gd name="T13" fmla="*/ 372 h 542"/>
                  <a:gd name="T14" fmla="*/ 421 w 576"/>
                  <a:gd name="T15" fmla="*/ 330 h 542"/>
                  <a:gd name="T16" fmla="*/ 394 w 576"/>
                  <a:gd name="T17" fmla="*/ 289 h 542"/>
                  <a:gd name="T18" fmla="*/ 369 w 576"/>
                  <a:gd name="T19" fmla="*/ 249 h 542"/>
                  <a:gd name="T20" fmla="*/ 344 w 576"/>
                  <a:gd name="T21" fmla="*/ 210 h 542"/>
                  <a:gd name="T22" fmla="*/ 321 w 576"/>
                  <a:gd name="T23" fmla="*/ 175 h 542"/>
                  <a:gd name="T24" fmla="*/ 284 w 576"/>
                  <a:gd name="T25" fmla="*/ 118 h 542"/>
                  <a:gd name="T26" fmla="*/ 262 w 576"/>
                  <a:gd name="T27" fmla="*/ 86 h 542"/>
                  <a:gd name="T28" fmla="*/ 187 w 576"/>
                  <a:gd name="T29" fmla="*/ 143 h 542"/>
                  <a:gd name="T30" fmla="*/ 45 w 576"/>
                  <a:gd name="T31" fmla="*/ 266 h 542"/>
                  <a:gd name="T32" fmla="*/ 0 w 576"/>
                  <a:gd name="T33" fmla="*/ 220 h 542"/>
                  <a:gd name="T34" fmla="*/ 175 w 576"/>
                  <a:gd name="T35" fmla="*/ 86 h 542"/>
                  <a:gd name="T36" fmla="*/ 238 w 576"/>
                  <a:gd name="T37" fmla="*/ 42 h 542"/>
                  <a:gd name="T38" fmla="*/ 238 w 576"/>
                  <a:gd name="T39" fmla="*/ 42 h 5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76"/>
                  <a:gd name="T61" fmla="*/ 0 h 542"/>
                  <a:gd name="T62" fmla="*/ 576 w 576"/>
                  <a:gd name="T63" fmla="*/ 542 h 54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76" h="542">
                    <a:moveTo>
                      <a:pt x="238" y="42"/>
                    </a:moveTo>
                    <a:lnTo>
                      <a:pt x="304" y="0"/>
                    </a:lnTo>
                    <a:lnTo>
                      <a:pt x="576" y="518"/>
                    </a:lnTo>
                    <a:lnTo>
                      <a:pt x="559" y="542"/>
                    </a:lnTo>
                    <a:lnTo>
                      <a:pt x="515" y="479"/>
                    </a:lnTo>
                    <a:lnTo>
                      <a:pt x="471" y="410"/>
                    </a:lnTo>
                    <a:lnTo>
                      <a:pt x="446" y="372"/>
                    </a:lnTo>
                    <a:lnTo>
                      <a:pt x="421" y="330"/>
                    </a:lnTo>
                    <a:lnTo>
                      <a:pt x="394" y="289"/>
                    </a:lnTo>
                    <a:lnTo>
                      <a:pt x="369" y="249"/>
                    </a:lnTo>
                    <a:lnTo>
                      <a:pt x="344" y="210"/>
                    </a:lnTo>
                    <a:lnTo>
                      <a:pt x="321" y="175"/>
                    </a:lnTo>
                    <a:lnTo>
                      <a:pt x="284" y="118"/>
                    </a:lnTo>
                    <a:lnTo>
                      <a:pt x="262" y="86"/>
                    </a:lnTo>
                    <a:lnTo>
                      <a:pt x="187" y="143"/>
                    </a:lnTo>
                    <a:lnTo>
                      <a:pt x="45" y="266"/>
                    </a:lnTo>
                    <a:lnTo>
                      <a:pt x="0" y="220"/>
                    </a:lnTo>
                    <a:lnTo>
                      <a:pt x="175" y="86"/>
                    </a:lnTo>
                    <a:lnTo>
                      <a:pt x="238" y="4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5" name="Freeform 301"/>
              <p:cNvSpPr>
                <a:spLocks/>
              </p:cNvSpPr>
              <p:nvPr/>
            </p:nvSpPr>
            <p:spPr bwMode="auto">
              <a:xfrm>
                <a:off x="5007" y="1768"/>
                <a:ext cx="14" cy="20"/>
              </a:xfrm>
              <a:custGeom>
                <a:avLst/>
                <a:gdLst>
                  <a:gd name="T0" fmla="*/ 4 w 44"/>
                  <a:gd name="T1" fmla="*/ 0 h 59"/>
                  <a:gd name="T2" fmla="*/ 0 w 44"/>
                  <a:gd name="T3" fmla="*/ 52 h 59"/>
                  <a:gd name="T4" fmla="*/ 44 w 44"/>
                  <a:gd name="T5" fmla="*/ 59 h 59"/>
                  <a:gd name="T6" fmla="*/ 44 w 44"/>
                  <a:gd name="T7" fmla="*/ 7 h 59"/>
                  <a:gd name="T8" fmla="*/ 4 w 44"/>
                  <a:gd name="T9" fmla="*/ 0 h 59"/>
                  <a:gd name="T10" fmla="*/ 4 w 44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4"/>
                  <a:gd name="T19" fmla="*/ 0 h 59"/>
                  <a:gd name="T20" fmla="*/ 44 w 44"/>
                  <a:gd name="T21" fmla="*/ 59 h 5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4" h="59">
                    <a:moveTo>
                      <a:pt x="4" y="0"/>
                    </a:moveTo>
                    <a:lnTo>
                      <a:pt x="0" y="52"/>
                    </a:lnTo>
                    <a:lnTo>
                      <a:pt x="44" y="59"/>
                    </a:lnTo>
                    <a:lnTo>
                      <a:pt x="44" y="7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6" name="Freeform 302"/>
              <p:cNvSpPr>
                <a:spLocks/>
              </p:cNvSpPr>
              <p:nvPr/>
            </p:nvSpPr>
            <p:spPr bwMode="auto">
              <a:xfrm>
                <a:off x="4994" y="1777"/>
                <a:ext cx="18" cy="17"/>
              </a:xfrm>
              <a:custGeom>
                <a:avLst/>
                <a:gdLst>
                  <a:gd name="T0" fmla="*/ 1 w 54"/>
                  <a:gd name="T1" fmla="*/ 0 h 51"/>
                  <a:gd name="T2" fmla="*/ 54 w 54"/>
                  <a:gd name="T3" fmla="*/ 0 h 51"/>
                  <a:gd name="T4" fmla="*/ 43 w 54"/>
                  <a:gd name="T5" fmla="*/ 51 h 51"/>
                  <a:gd name="T6" fmla="*/ 0 w 54"/>
                  <a:gd name="T7" fmla="*/ 46 h 51"/>
                  <a:gd name="T8" fmla="*/ 1 w 54"/>
                  <a:gd name="T9" fmla="*/ 0 h 51"/>
                  <a:gd name="T10" fmla="*/ 1 w 54"/>
                  <a:gd name="T11" fmla="*/ 0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4"/>
                  <a:gd name="T19" fmla="*/ 0 h 51"/>
                  <a:gd name="T20" fmla="*/ 54 w 54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4" h="51">
                    <a:moveTo>
                      <a:pt x="1" y="0"/>
                    </a:moveTo>
                    <a:lnTo>
                      <a:pt x="54" y="0"/>
                    </a:lnTo>
                    <a:lnTo>
                      <a:pt x="43" y="51"/>
                    </a:lnTo>
                    <a:lnTo>
                      <a:pt x="0" y="46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7" name="Freeform 303"/>
              <p:cNvSpPr>
                <a:spLocks/>
              </p:cNvSpPr>
              <p:nvPr/>
            </p:nvSpPr>
            <p:spPr bwMode="auto">
              <a:xfrm>
                <a:off x="4896" y="1819"/>
                <a:ext cx="25" cy="16"/>
              </a:xfrm>
              <a:custGeom>
                <a:avLst/>
                <a:gdLst>
                  <a:gd name="T0" fmla="*/ 22 w 75"/>
                  <a:gd name="T1" fmla="*/ 0 h 48"/>
                  <a:gd name="T2" fmla="*/ 75 w 75"/>
                  <a:gd name="T3" fmla="*/ 18 h 48"/>
                  <a:gd name="T4" fmla="*/ 57 w 75"/>
                  <a:gd name="T5" fmla="*/ 48 h 48"/>
                  <a:gd name="T6" fmla="*/ 0 w 75"/>
                  <a:gd name="T7" fmla="*/ 18 h 48"/>
                  <a:gd name="T8" fmla="*/ 22 w 75"/>
                  <a:gd name="T9" fmla="*/ 0 h 48"/>
                  <a:gd name="T10" fmla="*/ 22 w 75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"/>
                  <a:gd name="T19" fmla="*/ 0 h 48"/>
                  <a:gd name="T20" fmla="*/ 75 w 75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" h="48">
                    <a:moveTo>
                      <a:pt x="22" y="0"/>
                    </a:moveTo>
                    <a:lnTo>
                      <a:pt x="75" y="18"/>
                    </a:lnTo>
                    <a:lnTo>
                      <a:pt x="57" y="48"/>
                    </a:lnTo>
                    <a:lnTo>
                      <a:pt x="0" y="18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8" name="Freeform 304"/>
              <p:cNvSpPr>
                <a:spLocks/>
              </p:cNvSpPr>
              <p:nvPr/>
            </p:nvSpPr>
            <p:spPr bwMode="auto">
              <a:xfrm>
                <a:off x="4748" y="1768"/>
                <a:ext cx="16" cy="20"/>
              </a:xfrm>
              <a:custGeom>
                <a:avLst/>
                <a:gdLst>
                  <a:gd name="T0" fmla="*/ 49 w 49"/>
                  <a:gd name="T1" fmla="*/ 19 h 60"/>
                  <a:gd name="T2" fmla="*/ 40 w 49"/>
                  <a:gd name="T3" fmla="*/ 60 h 60"/>
                  <a:gd name="T4" fmla="*/ 0 w 49"/>
                  <a:gd name="T5" fmla="*/ 49 h 60"/>
                  <a:gd name="T6" fmla="*/ 22 w 49"/>
                  <a:gd name="T7" fmla="*/ 0 h 60"/>
                  <a:gd name="T8" fmla="*/ 49 w 49"/>
                  <a:gd name="T9" fmla="*/ 19 h 60"/>
                  <a:gd name="T10" fmla="*/ 49 w 49"/>
                  <a:gd name="T11" fmla="*/ 19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9"/>
                  <a:gd name="T19" fmla="*/ 0 h 60"/>
                  <a:gd name="T20" fmla="*/ 49 w 49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9" h="60">
                    <a:moveTo>
                      <a:pt x="49" y="19"/>
                    </a:moveTo>
                    <a:lnTo>
                      <a:pt x="40" y="60"/>
                    </a:lnTo>
                    <a:lnTo>
                      <a:pt x="0" y="49"/>
                    </a:lnTo>
                    <a:lnTo>
                      <a:pt x="22" y="0"/>
                    </a:lnTo>
                    <a:lnTo>
                      <a:pt x="49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9" name="Freeform 305"/>
              <p:cNvSpPr>
                <a:spLocks/>
              </p:cNvSpPr>
              <p:nvPr/>
            </p:nvSpPr>
            <p:spPr bwMode="auto">
              <a:xfrm>
                <a:off x="4623" y="1720"/>
                <a:ext cx="10" cy="21"/>
              </a:xfrm>
              <a:custGeom>
                <a:avLst/>
                <a:gdLst>
                  <a:gd name="T0" fmla="*/ 30 w 30"/>
                  <a:gd name="T1" fmla="*/ 6 h 63"/>
                  <a:gd name="T2" fmla="*/ 30 w 30"/>
                  <a:gd name="T3" fmla="*/ 40 h 63"/>
                  <a:gd name="T4" fmla="*/ 1 w 30"/>
                  <a:gd name="T5" fmla="*/ 63 h 63"/>
                  <a:gd name="T6" fmla="*/ 0 w 30"/>
                  <a:gd name="T7" fmla="*/ 0 h 63"/>
                  <a:gd name="T8" fmla="*/ 30 w 30"/>
                  <a:gd name="T9" fmla="*/ 6 h 63"/>
                  <a:gd name="T10" fmla="*/ 30 w 30"/>
                  <a:gd name="T11" fmla="*/ 6 h 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63"/>
                  <a:gd name="T20" fmla="*/ 30 w 30"/>
                  <a:gd name="T21" fmla="*/ 63 h 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63">
                    <a:moveTo>
                      <a:pt x="30" y="6"/>
                    </a:moveTo>
                    <a:lnTo>
                      <a:pt x="30" y="40"/>
                    </a:lnTo>
                    <a:lnTo>
                      <a:pt x="1" y="63"/>
                    </a:lnTo>
                    <a:lnTo>
                      <a:pt x="0" y="0"/>
                    </a:lnTo>
                    <a:lnTo>
                      <a:pt x="3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0" name="Freeform 306"/>
              <p:cNvSpPr>
                <a:spLocks/>
              </p:cNvSpPr>
              <p:nvPr/>
            </p:nvSpPr>
            <p:spPr bwMode="auto">
              <a:xfrm>
                <a:off x="4765" y="1756"/>
                <a:ext cx="312" cy="192"/>
              </a:xfrm>
              <a:custGeom>
                <a:avLst/>
                <a:gdLst>
                  <a:gd name="T0" fmla="*/ 90 w 935"/>
                  <a:gd name="T1" fmla="*/ 18 h 576"/>
                  <a:gd name="T2" fmla="*/ 155 w 935"/>
                  <a:gd name="T3" fmla="*/ 34 h 576"/>
                  <a:gd name="T4" fmla="*/ 169 w 935"/>
                  <a:gd name="T5" fmla="*/ 90 h 576"/>
                  <a:gd name="T6" fmla="*/ 162 w 935"/>
                  <a:gd name="T7" fmla="*/ 141 h 576"/>
                  <a:gd name="T8" fmla="*/ 114 w 935"/>
                  <a:gd name="T9" fmla="*/ 185 h 576"/>
                  <a:gd name="T10" fmla="*/ 63 w 935"/>
                  <a:gd name="T11" fmla="*/ 189 h 576"/>
                  <a:gd name="T12" fmla="*/ 0 w 935"/>
                  <a:gd name="T13" fmla="*/ 158 h 576"/>
                  <a:gd name="T14" fmla="*/ 40 w 935"/>
                  <a:gd name="T15" fmla="*/ 210 h 576"/>
                  <a:gd name="T16" fmla="*/ 134 w 935"/>
                  <a:gd name="T17" fmla="*/ 215 h 576"/>
                  <a:gd name="T18" fmla="*/ 192 w 935"/>
                  <a:gd name="T19" fmla="*/ 178 h 576"/>
                  <a:gd name="T20" fmla="*/ 935 w 935"/>
                  <a:gd name="T21" fmla="*/ 576 h 576"/>
                  <a:gd name="T22" fmla="*/ 199 w 935"/>
                  <a:gd name="T23" fmla="*/ 127 h 576"/>
                  <a:gd name="T24" fmla="*/ 187 w 935"/>
                  <a:gd name="T25" fmla="*/ 72 h 576"/>
                  <a:gd name="T26" fmla="*/ 169 w 935"/>
                  <a:gd name="T27" fmla="*/ 18 h 576"/>
                  <a:gd name="T28" fmla="*/ 129 w 935"/>
                  <a:gd name="T29" fmla="*/ 0 h 576"/>
                  <a:gd name="T30" fmla="*/ 90 w 935"/>
                  <a:gd name="T31" fmla="*/ 18 h 576"/>
                  <a:gd name="T32" fmla="*/ 90 w 935"/>
                  <a:gd name="T33" fmla="*/ 18 h 5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5"/>
                  <a:gd name="T52" fmla="*/ 0 h 576"/>
                  <a:gd name="T53" fmla="*/ 935 w 935"/>
                  <a:gd name="T54" fmla="*/ 576 h 5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5" h="576">
                    <a:moveTo>
                      <a:pt x="90" y="18"/>
                    </a:moveTo>
                    <a:lnTo>
                      <a:pt x="155" y="34"/>
                    </a:lnTo>
                    <a:lnTo>
                      <a:pt x="169" y="90"/>
                    </a:lnTo>
                    <a:lnTo>
                      <a:pt x="162" y="141"/>
                    </a:lnTo>
                    <a:lnTo>
                      <a:pt x="114" y="185"/>
                    </a:lnTo>
                    <a:lnTo>
                      <a:pt x="63" y="189"/>
                    </a:lnTo>
                    <a:lnTo>
                      <a:pt x="0" y="158"/>
                    </a:lnTo>
                    <a:lnTo>
                      <a:pt x="40" y="210"/>
                    </a:lnTo>
                    <a:lnTo>
                      <a:pt x="134" y="215"/>
                    </a:lnTo>
                    <a:lnTo>
                      <a:pt x="192" y="178"/>
                    </a:lnTo>
                    <a:lnTo>
                      <a:pt x="935" y="576"/>
                    </a:lnTo>
                    <a:lnTo>
                      <a:pt x="199" y="127"/>
                    </a:lnTo>
                    <a:lnTo>
                      <a:pt x="187" y="72"/>
                    </a:lnTo>
                    <a:lnTo>
                      <a:pt x="169" y="18"/>
                    </a:lnTo>
                    <a:lnTo>
                      <a:pt x="129" y="0"/>
                    </a:lnTo>
                    <a:lnTo>
                      <a:pt x="90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1" name="Freeform 307"/>
              <p:cNvSpPr>
                <a:spLocks/>
              </p:cNvSpPr>
              <p:nvPr/>
            </p:nvSpPr>
            <p:spPr bwMode="auto">
              <a:xfrm>
                <a:off x="4880" y="1796"/>
                <a:ext cx="114" cy="20"/>
              </a:xfrm>
              <a:custGeom>
                <a:avLst/>
                <a:gdLst>
                  <a:gd name="T0" fmla="*/ 0 w 343"/>
                  <a:gd name="T1" fmla="*/ 8 h 61"/>
                  <a:gd name="T2" fmla="*/ 87 w 343"/>
                  <a:gd name="T3" fmla="*/ 61 h 61"/>
                  <a:gd name="T4" fmla="*/ 331 w 343"/>
                  <a:gd name="T5" fmla="*/ 34 h 61"/>
                  <a:gd name="T6" fmla="*/ 343 w 343"/>
                  <a:gd name="T7" fmla="*/ 0 h 61"/>
                  <a:gd name="T8" fmla="*/ 0 w 343"/>
                  <a:gd name="T9" fmla="*/ 8 h 61"/>
                  <a:gd name="T10" fmla="*/ 0 w 343"/>
                  <a:gd name="T11" fmla="*/ 8 h 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61"/>
                  <a:gd name="T20" fmla="*/ 343 w 343"/>
                  <a:gd name="T21" fmla="*/ 61 h 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61">
                    <a:moveTo>
                      <a:pt x="0" y="8"/>
                    </a:moveTo>
                    <a:lnTo>
                      <a:pt x="87" y="61"/>
                    </a:lnTo>
                    <a:lnTo>
                      <a:pt x="331" y="34"/>
                    </a:lnTo>
                    <a:lnTo>
                      <a:pt x="343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2" name="Freeform 308"/>
              <p:cNvSpPr>
                <a:spLocks/>
              </p:cNvSpPr>
              <p:nvPr/>
            </p:nvSpPr>
            <p:spPr bwMode="auto">
              <a:xfrm>
                <a:off x="5060" y="1797"/>
                <a:ext cx="79" cy="10"/>
              </a:xfrm>
              <a:custGeom>
                <a:avLst/>
                <a:gdLst>
                  <a:gd name="T0" fmla="*/ 4 w 237"/>
                  <a:gd name="T1" fmla="*/ 0 h 30"/>
                  <a:gd name="T2" fmla="*/ 0 w 237"/>
                  <a:gd name="T3" fmla="*/ 30 h 30"/>
                  <a:gd name="T4" fmla="*/ 237 w 237"/>
                  <a:gd name="T5" fmla="*/ 0 h 30"/>
                  <a:gd name="T6" fmla="*/ 4 w 237"/>
                  <a:gd name="T7" fmla="*/ 0 h 30"/>
                  <a:gd name="T8" fmla="*/ 4 w 237"/>
                  <a:gd name="T9" fmla="*/ 0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7"/>
                  <a:gd name="T16" fmla="*/ 0 h 30"/>
                  <a:gd name="T17" fmla="*/ 237 w 237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7" h="30">
                    <a:moveTo>
                      <a:pt x="4" y="0"/>
                    </a:moveTo>
                    <a:lnTo>
                      <a:pt x="0" y="30"/>
                    </a:lnTo>
                    <a:lnTo>
                      <a:pt x="237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3" name="Freeform 309"/>
              <p:cNvSpPr>
                <a:spLocks/>
              </p:cNvSpPr>
              <p:nvPr/>
            </p:nvSpPr>
            <p:spPr bwMode="auto">
              <a:xfrm>
                <a:off x="4995" y="1763"/>
                <a:ext cx="34" cy="101"/>
              </a:xfrm>
              <a:custGeom>
                <a:avLst/>
                <a:gdLst>
                  <a:gd name="T0" fmla="*/ 0 w 104"/>
                  <a:gd name="T1" fmla="*/ 298 h 302"/>
                  <a:gd name="T2" fmla="*/ 64 w 104"/>
                  <a:gd name="T3" fmla="*/ 185 h 302"/>
                  <a:gd name="T4" fmla="*/ 98 w 104"/>
                  <a:gd name="T5" fmla="*/ 58 h 302"/>
                  <a:gd name="T6" fmla="*/ 104 w 104"/>
                  <a:gd name="T7" fmla="*/ 0 h 302"/>
                  <a:gd name="T8" fmla="*/ 89 w 104"/>
                  <a:gd name="T9" fmla="*/ 165 h 302"/>
                  <a:gd name="T10" fmla="*/ 33 w 104"/>
                  <a:gd name="T11" fmla="*/ 302 h 302"/>
                  <a:gd name="T12" fmla="*/ 0 w 104"/>
                  <a:gd name="T13" fmla="*/ 298 h 302"/>
                  <a:gd name="T14" fmla="*/ 0 w 104"/>
                  <a:gd name="T15" fmla="*/ 298 h 30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4"/>
                  <a:gd name="T25" fmla="*/ 0 h 302"/>
                  <a:gd name="T26" fmla="*/ 104 w 104"/>
                  <a:gd name="T27" fmla="*/ 302 h 30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4" h="302">
                    <a:moveTo>
                      <a:pt x="0" y="298"/>
                    </a:moveTo>
                    <a:lnTo>
                      <a:pt x="64" y="185"/>
                    </a:lnTo>
                    <a:lnTo>
                      <a:pt x="98" y="58"/>
                    </a:lnTo>
                    <a:lnTo>
                      <a:pt x="104" y="0"/>
                    </a:lnTo>
                    <a:lnTo>
                      <a:pt x="89" y="165"/>
                    </a:lnTo>
                    <a:lnTo>
                      <a:pt x="33" y="302"/>
                    </a:lnTo>
                    <a:lnTo>
                      <a:pt x="0" y="298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4" name="Freeform 310"/>
              <p:cNvSpPr>
                <a:spLocks/>
              </p:cNvSpPr>
              <p:nvPr/>
            </p:nvSpPr>
            <p:spPr bwMode="auto">
              <a:xfrm>
                <a:off x="4896" y="1802"/>
                <a:ext cx="72" cy="8"/>
              </a:xfrm>
              <a:custGeom>
                <a:avLst/>
                <a:gdLst>
                  <a:gd name="T0" fmla="*/ 0 w 215"/>
                  <a:gd name="T1" fmla="*/ 0 h 25"/>
                  <a:gd name="T2" fmla="*/ 33 w 215"/>
                  <a:gd name="T3" fmla="*/ 25 h 25"/>
                  <a:gd name="T4" fmla="*/ 215 w 215"/>
                  <a:gd name="T5" fmla="*/ 7 h 25"/>
                  <a:gd name="T6" fmla="*/ 0 w 215"/>
                  <a:gd name="T7" fmla="*/ 0 h 25"/>
                  <a:gd name="T8" fmla="*/ 0 w 215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5"/>
                  <a:gd name="T16" fmla="*/ 0 h 25"/>
                  <a:gd name="T17" fmla="*/ 215 w 215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5" h="25">
                    <a:moveTo>
                      <a:pt x="0" y="0"/>
                    </a:moveTo>
                    <a:lnTo>
                      <a:pt x="33" y="25"/>
                    </a:lnTo>
                    <a:lnTo>
                      <a:pt x="215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5" name="Freeform 311"/>
              <p:cNvSpPr>
                <a:spLocks/>
              </p:cNvSpPr>
              <p:nvPr/>
            </p:nvSpPr>
            <p:spPr bwMode="auto">
              <a:xfrm>
                <a:off x="4996" y="1835"/>
                <a:ext cx="20" cy="30"/>
              </a:xfrm>
              <a:custGeom>
                <a:avLst/>
                <a:gdLst>
                  <a:gd name="T0" fmla="*/ 0 w 61"/>
                  <a:gd name="T1" fmla="*/ 80 h 91"/>
                  <a:gd name="T2" fmla="*/ 37 w 61"/>
                  <a:gd name="T3" fmla="*/ 91 h 91"/>
                  <a:gd name="T4" fmla="*/ 61 w 61"/>
                  <a:gd name="T5" fmla="*/ 0 h 91"/>
                  <a:gd name="T6" fmla="*/ 0 w 61"/>
                  <a:gd name="T7" fmla="*/ 80 h 91"/>
                  <a:gd name="T8" fmla="*/ 0 w 61"/>
                  <a:gd name="T9" fmla="*/ 8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"/>
                  <a:gd name="T16" fmla="*/ 0 h 91"/>
                  <a:gd name="T17" fmla="*/ 61 w 61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" h="91">
                    <a:moveTo>
                      <a:pt x="0" y="80"/>
                    </a:moveTo>
                    <a:lnTo>
                      <a:pt x="37" y="91"/>
                    </a:lnTo>
                    <a:lnTo>
                      <a:pt x="61" y="0"/>
                    </a:lnTo>
                    <a:lnTo>
                      <a:pt x="0" y="8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6" name="Freeform 312"/>
              <p:cNvSpPr>
                <a:spLocks/>
              </p:cNvSpPr>
              <p:nvPr/>
            </p:nvSpPr>
            <p:spPr bwMode="auto">
              <a:xfrm>
                <a:off x="4760" y="1755"/>
                <a:ext cx="44" cy="72"/>
              </a:xfrm>
              <a:custGeom>
                <a:avLst/>
                <a:gdLst>
                  <a:gd name="T0" fmla="*/ 35 w 132"/>
                  <a:gd name="T1" fmla="*/ 215 h 215"/>
                  <a:gd name="T2" fmla="*/ 0 w 132"/>
                  <a:gd name="T3" fmla="*/ 168 h 215"/>
                  <a:gd name="T4" fmla="*/ 5 w 132"/>
                  <a:gd name="T5" fmla="*/ 106 h 215"/>
                  <a:gd name="T6" fmla="*/ 33 w 132"/>
                  <a:gd name="T7" fmla="*/ 43 h 215"/>
                  <a:gd name="T8" fmla="*/ 92 w 132"/>
                  <a:gd name="T9" fmla="*/ 2 h 215"/>
                  <a:gd name="T10" fmla="*/ 132 w 132"/>
                  <a:gd name="T11" fmla="*/ 0 h 215"/>
                  <a:gd name="T12" fmla="*/ 96 w 132"/>
                  <a:gd name="T13" fmla="*/ 29 h 215"/>
                  <a:gd name="T14" fmla="*/ 55 w 132"/>
                  <a:gd name="T15" fmla="*/ 57 h 215"/>
                  <a:gd name="T16" fmla="*/ 26 w 132"/>
                  <a:gd name="T17" fmla="*/ 130 h 215"/>
                  <a:gd name="T18" fmla="*/ 24 w 132"/>
                  <a:gd name="T19" fmla="*/ 173 h 215"/>
                  <a:gd name="T20" fmla="*/ 35 w 132"/>
                  <a:gd name="T21" fmla="*/ 215 h 215"/>
                  <a:gd name="T22" fmla="*/ 35 w 132"/>
                  <a:gd name="T23" fmla="*/ 215 h 2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2"/>
                  <a:gd name="T37" fmla="*/ 0 h 215"/>
                  <a:gd name="T38" fmla="*/ 132 w 132"/>
                  <a:gd name="T39" fmla="*/ 215 h 2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2" h="215">
                    <a:moveTo>
                      <a:pt x="35" y="215"/>
                    </a:moveTo>
                    <a:lnTo>
                      <a:pt x="0" y="168"/>
                    </a:lnTo>
                    <a:lnTo>
                      <a:pt x="5" y="106"/>
                    </a:lnTo>
                    <a:lnTo>
                      <a:pt x="33" y="43"/>
                    </a:lnTo>
                    <a:lnTo>
                      <a:pt x="92" y="2"/>
                    </a:lnTo>
                    <a:lnTo>
                      <a:pt x="132" y="0"/>
                    </a:lnTo>
                    <a:lnTo>
                      <a:pt x="96" y="29"/>
                    </a:lnTo>
                    <a:lnTo>
                      <a:pt x="55" y="57"/>
                    </a:lnTo>
                    <a:lnTo>
                      <a:pt x="26" y="130"/>
                    </a:lnTo>
                    <a:lnTo>
                      <a:pt x="24" y="173"/>
                    </a:lnTo>
                    <a:lnTo>
                      <a:pt x="35" y="215"/>
                    </a:lnTo>
                    <a:close/>
                  </a:path>
                </a:pathLst>
              </a:custGeom>
              <a:solidFill>
                <a:srgbClr val="FFFF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7" name="Freeform 313"/>
              <p:cNvSpPr>
                <a:spLocks/>
              </p:cNvSpPr>
              <p:nvPr/>
            </p:nvSpPr>
            <p:spPr bwMode="auto">
              <a:xfrm>
                <a:off x="4741" y="1768"/>
                <a:ext cx="9" cy="10"/>
              </a:xfrm>
              <a:custGeom>
                <a:avLst/>
                <a:gdLst>
                  <a:gd name="T0" fmla="*/ 15 w 28"/>
                  <a:gd name="T1" fmla="*/ 1 h 29"/>
                  <a:gd name="T2" fmla="*/ 0 w 28"/>
                  <a:gd name="T3" fmla="*/ 25 h 29"/>
                  <a:gd name="T4" fmla="*/ 23 w 28"/>
                  <a:gd name="T5" fmla="*/ 29 h 29"/>
                  <a:gd name="T6" fmla="*/ 28 w 28"/>
                  <a:gd name="T7" fmla="*/ 0 h 29"/>
                  <a:gd name="T8" fmla="*/ 15 w 28"/>
                  <a:gd name="T9" fmla="*/ 1 h 29"/>
                  <a:gd name="T10" fmla="*/ 15 w 28"/>
                  <a:gd name="T11" fmla="*/ 1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9"/>
                  <a:gd name="T20" fmla="*/ 28 w 28"/>
                  <a:gd name="T21" fmla="*/ 29 h 2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9">
                    <a:moveTo>
                      <a:pt x="15" y="1"/>
                    </a:moveTo>
                    <a:lnTo>
                      <a:pt x="0" y="25"/>
                    </a:lnTo>
                    <a:lnTo>
                      <a:pt x="23" y="29"/>
                    </a:lnTo>
                    <a:lnTo>
                      <a:pt x="28" y="0"/>
                    </a:lnTo>
                    <a:lnTo>
                      <a:pt x="15" y="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8" name="Freeform 314"/>
              <p:cNvSpPr>
                <a:spLocks/>
              </p:cNvSpPr>
              <p:nvPr/>
            </p:nvSpPr>
            <p:spPr bwMode="auto">
              <a:xfrm>
                <a:off x="4658" y="1530"/>
                <a:ext cx="414" cy="165"/>
              </a:xfrm>
              <a:custGeom>
                <a:avLst/>
                <a:gdLst>
                  <a:gd name="T0" fmla="*/ 94 w 1241"/>
                  <a:gd name="T1" fmla="*/ 420 h 496"/>
                  <a:gd name="T2" fmla="*/ 116 w 1241"/>
                  <a:gd name="T3" fmla="*/ 496 h 496"/>
                  <a:gd name="T4" fmla="*/ 190 w 1241"/>
                  <a:gd name="T5" fmla="*/ 368 h 496"/>
                  <a:gd name="T6" fmla="*/ 265 w 1241"/>
                  <a:gd name="T7" fmla="*/ 434 h 496"/>
                  <a:gd name="T8" fmla="*/ 305 w 1241"/>
                  <a:gd name="T9" fmla="*/ 324 h 496"/>
                  <a:gd name="T10" fmla="*/ 413 w 1241"/>
                  <a:gd name="T11" fmla="*/ 412 h 496"/>
                  <a:gd name="T12" fmla="*/ 423 w 1241"/>
                  <a:gd name="T13" fmla="*/ 289 h 496"/>
                  <a:gd name="T14" fmla="*/ 546 w 1241"/>
                  <a:gd name="T15" fmla="*/ 368 h 496"/>
                  <a:gd name="T16" fmla="*/ 586 w 1241"/>
                  <a:gd name="T17" fmla="*/ 245 h 496"/>
                  <a:gd name="T18" fmla="*/ 708 w 1241"/>
                  <a:gd name="T19" fmla="*/ 307 h 496"/>
                  <a:gd name="T20" fmla="*/ 717 w 1241"/>
                  <a:gd name="T21" fmla="*/ 213 h 496"/>
                  <a:gd name="T22" fmla="*/ 805 w 1241"/>
                  <a:gd name="T23" fmla="*/ 289 h 496"/>
                  <a:gd name="T24" fmla="*/ 841 w 1241"/>
                  <a:gd name="T25" fmla="*/ 171 h 496"/>
                  <a:gd name="T26" fmla="*/ 901 w 1241"/>
                  <a:gd name="T27" fmla="*/ 231 h 496"/>
                  <a:gd name="T28" fmla="*/ 950 w 1241"/>
                  <a:gd name="T29" fmla="*/ 153 h 496"/>
                  <a:gd name="T30" fmla="*/ 1020 w 1241"/>
                  <a:gd name="T31" fmla="*/ 223 h 496"/>
                  <a:gd name="T32" fmla="*/ 1060 w 1241"/>
                  <a:gd name="T33" fmla="*/ 143 h 496"/>
                  <a:gd name="T34" fmla="*/ 1108 w 1241"/>
                  <a:gd name="T35" fmla="*/ 201 h 496"/>
                  <a:gd name="T36" fmla="*/ 1144 w 1241"/>
                  <a:gd name="T37" fmla="*/ 139 h 496"/>
                  <a:gd name="T38" fmla="*/ 1241 w 1241"/>
                  <a:gd name="T39" fmla="*/ 187 h 496"/>
                  <a:gd name="T40" fmla="*/ 1177 w 1241"/>
                  <a:gd name="T41" fmla="*/ 0 h 496"/>
                  <a:gd name="T42" fmla="*/ 753 w 1241"/>
                  <a:gd name="T43" fmla="*/ 78 h 496"/>
                  <a:gd name="T44" fmla="*/ 353 w 1241"/>
                  <a:gd name="T45" fmla="*/ 195 h 496"/>
                  <a:gd name="T46" fmla="*/ 0 w 1241"/>
                  <a:gd name="T47" fmla="*/ 355 h 496"/>
                  <a:gd name="T48" fmla="*/ 94 w 1241"/>
                  <a:gd name="T49" fmla="*/ 420 h 496"/>
                  <a:gd name="T50" fmla="*/ 94 w 1241"/>
                  <a:gd name="T51" fmla="*/ 420 h 49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41"/>
                  <a:gd name="T79" fmla="*/ 0 h 496"/>
                  <a:gd name="T80" fmla="*/ 1241 w 1241"/>
                  <a:gd name="T81" fmla="*/ 496 h 49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41" h="496">
                    <a:moveTo>
                      <a:pt x="94" y="420"/>
                    </a:moveTo>
                    <a:lnTo>
                      <a:pt x="116" y="496"/>
                    </a:lnTo>
                    <a:lnTo>
                      <a:pt x="190" y="368"/>
                    </a:lnTo>
                    <a:lnTo>
                      <a:pt x="265" y="434"/>
                    </a:lnTo>
                    <a:lnTo>
                      <a:pt x="305" y="324"/>
                    </a:lnTo>
                    <a:lnTo>
                      <a:pt x="413" y="412"/>
                    </a:lnTo>
                    <a:lnTo>
                      <a:pt x="423" y="289"/>
                    </a:lnTo>
                    <a:lnTo>
                      <a:pt x="546" y="368"/>
                    </a:lnTo>
                    <a:lnTo>
                      <a:pt x="586" y="245"/>
                    </a:lnTo>
                    <a:lnTo>
                      <a:pt x="708" y="307"/>
                    </a:lnTo>
                    <a:lnTo>
                      <a:pt x="717" y="213"/>
                    </a:lnTo>
                    <a:lnTo>
                      <a:pt x="805" y="289"/>
                    </a:lnTo>
                    <a:lnTo>
                      <a:pt x="841" y="171"/>
                    </a:lnTo>
                    <a:lnTo>
                      <a:pt x="901" y="231"/>
                    </a:lnTo>
                    <a:lnTo>
                      <a:pt x="950" y="153"/>
                    </a:lnTo>
                    <a:lnTo>
                      <a:pt x="1020" y="223"/>
                    </a:lnTo>
                    <a:lnTo>
                      <a:pt x="1060" y="143"/>
                    </a:lnTo>
                    <a:lnTo>
                      <a:pt x="1108" y="201"/>
                    </a:lnTo>
                    <a:lnTo>
                      <a:pt x="1144" y="139"/>
                    </a:lnTo>
                    <a:lnTo>
                      <a:pt x="1241" y="187"/>
                    </a:lnTo>
                    <a:lnTo>
                      <a:pt x="1177" y="0"/>
                    </a:lnTo>
                    <a:lnTo>
                      <a:pt x="753" y="78"/>
                    </a:lnTo>
                    <a:lnTo>
                      <a:pt x="353" y="195"/>
                    </a:lnTo>
                    <a:lnTo>
                      <a:pt x="0" y="355"/>
                    </a:lnTo>
                    <a:lnTo>
                      <a:pt x="94" y="420"/>
                    </a:lnTo>
                    <a:close/>
                  </a:path>
                </a:pathLst>
              </a:custGeom>
              <a:solidFill>
                <a:srgbClr val="FFF2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9" name="Freeform 315"/>
              <p:cNvSpPr>
                <a:spLocks/>
              </p:cNvSpPr>
              <p:nvPr/>
            </p:nvSpPr>
            <p:spPr bwMode="auto">
              <a:xfrm>
                <a:off x="4622" y="1584"/>
                <a:ext cx="245" cy="172"/>
              </a:xfrm>
              <a:custGeom>
                <a:avLst/>
                <a:gdLst>
                  <a:gd name="T0" fmla="*/ 54 w 734"/>
                  <a:gd name="T1" fmla="*/ 229 h 518"/>
                  <a:gd name="T2" fmla="*/ 243 w 734"/>
                  <a:gd name="T3" fmla="*/ 95 h 518"/>
                  <a:gd name="T4" fmla="*/ 308 w 734"/>
                  <a:gd name="T5" fmla="*/ 69 h 518"/>
                  <a:gd name="T6" fmla="*/ 371 w 734"/>
                  <a:gd name="T7" fmla="*/ 40 h 518"/>
                  <a:gd name="T8" fmla="*/ 436 w 734"/>
                  <a:gd name="T9" fmla="*/ 15 h 518"/>
                  <a:gd name="T10" fmla="*/ 501 w 734"/>
                  <a:gd name="T11" fmla="*/ 0 h 518"/>
                  <a:gd name="T12" fmla="*/ 509 w 734"/>
                  <a:gd name="T13" fmla="*/ 31 h 518"/>
                  <a:gd name="T14" fmla="*/ 116 w 734"/>
                  <a:gd name="T15" fmla="*/ 199 h 518"/>
                  <a:gd name="T16" fmla="*/ 221 w 734"/>
                  <a:gd name="T17" fmla="*/ 244 h 518"/>
                  <a:gd name="T18" fmla="*/ 229 w 734"/>
                  <a:gd name="T19" fmla="*/ 295 h 518"/>
                  <a:gd name="T20" fmla="*/ 242 w 734"/>
                  <a:gd name="T21" fmla="*/ 448 h 518"/>
                  <a:gd name="T22" fmla="*/ 483 w 734"/>
                  <a:gd name="T23" fmla="*/ 371 h 518"/>
                  <a:gd name="T24" fmla="*/ 604 w 734"/>
                  <a:gd name="T25" fmla="*/ 327 h 518"/>
                  <a:gd name="T26" fmla="*/ 721 w 734"/>
                  <a:gd name="T27" fmla="*/ 295 h 518"/>
                  <a:gd name="T28" fmla="*/ 734 w 734"/>
                  <a:gd name="T29" fmla="*/ 327 h 518"/>
                  <a:gd name="T30" fmla="*/ 655 w 734"/>
                  <a:gd name="T31" fmla="*/ 346 h 518"/>
                  <a:gd name="T32" fmla="*/ 561 w 734"/>
                  <a:gd name="T33" fmla="*/ 378 h 518"/>
                  <a:gd name="T34" fmla="*/ 458 w 734"/>
                  <a:gd name="T35" fmla="*/ 414 h 518"/>
                  <a:gd name="T36" fmla="*/ 352 w 734"/>
                  <a:gd name="T37" fmla="*/ 451 h 518"/>
                  <a:gd name="T38" fmla="*/ 251 w 734"/>
                  <a:gd name="T39" fmla="*/ 484 h 518"/>
                  <a:gd name="T40" fmla="*/ 163 w 734"/>
                  <a:gd name="T41" fmla="*/ 510 h 518"/>
                  <a:gd name="T42" fmla="*/ 51 w 734"/>
                  <a:gd name="T43" fmla="*/ 518 h 518"/>
                  <a:gd name="T44" fmla="*/ 0 w 734"/>
                  <a:gd name="T45" fmla="*/ 470 h 518"/>
                  <a:gd name="T46" fmla="*/ 33 w 734"/>
                  <a:gd name="T47" fmla="*/ 441 h 518"/>
                  <a:gd name="T48" fmla="*/ 42 w 734"/>
                  <a:gd name="T49" fmla="*/ 470 h 518"/>
                  <a:gd name="T50" fmla="*/ 62 w 734"/>
                  <a:gd name="T51" fmla="*/ 488 h 518"/>
                  <a:gd name="T52" fmla="*/ 115 w 734"/>
                  <a:gd name="T53" fmla="*/ 498 h 518"/>
                  <a:gd name="T54" fmla="*/ 166 w 734"/>
                  <a:gd name="T55" fmla="*/ 481 h 518"/>
                  <a:gd name="T56" fmla="*/ 184 w 734"/>
                  <a:gd name="T57" fmla="*/ 448 h 518"/>
                  <a:gd name="T58" fmla="*/ 93 w 734"/>
                  <a:gd name="T59" fmla="*/ 459 h 518"/>
                  <a:gd name="T60" fmla="*/ 98 w 734"/>
                  <a:gd name="T61" fmla="*/ 379 h 518"/>
                  <a:gd name="T62" fmla="*/ 54 w 734"/>
                  <a:gd name="T63" fmla="*/ 379 h 518"/>
                  <a:gd name="T64" fmla="*/ 33 w 734"/>
                  <a:gd name="T65" fmla="*/ 423 h 518"/>
                  <a:gd name="T66" fmla="*/ 3 w 734"/>
                  <a:gd name="T67" fmla="*/ 430 h 518"/>
                  <a:gd name="T68" fmla="*/ 4 w 734"/>
                  <a:gd name="T69" fmla="*/ 386 h 518"/>
                  <a:gd name="T70" fmla="*/ 20 w 734"/>
                  <a:gd name="T71" fmla="*/ 353 h 518"/>
                  <a:gd name="T72" fmla="*/ 73 w 734"/>
                  <a:gd name="T73" fmla="*/ 308 h 518"/>
                  <a:gd name="T74" fmla="*/ 134 w 734"/>
                  <a:gd name="T75" fmla="*/ 287 h 518"/>
                  <a:gd name="T76" fmla="*/ 178 w 734"/>
                  <a:gd name="T77" fmla="*/ 284 h 518"/>
                  <a:gd name="T78" fmla="*/ 180 w 734"/>
                  <a:gd name="T79" fmla="*/ 257 h 518"/>
                  <a:gd name="T80" fmla="*/ 156 w 734"/>
                  <a:gd name="T81" fmla="*/ 235 h 518"/>
                  <a:gd name="T82" fmla="*/ 54 w 734"/>
                  <a:gd name="T83" fmla="*/ 229 h 518"/>
                  <a:gd name="T84" fmla="*/ 54 w 734"/>
                  <a:gd name="T85" fmla="*/ 229 h 51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34"/>
                  <a:gd name="T130" fmla="*/ 0 h 518"/>
                  <a:gd name="T131" fmla="*/ 734 w 734"/>
                  <a:gd name="T132" fmla="*/ 518 h 51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34" h="518">
                    <a:moveTo>
                      <a:pt x="54" y="229"/>
                    </a:moveTo>
                    <a:lnTo>
                      <a:pt x="243" y="95"/>
                    </a:lnTo>
                    <a:lnTo>
                      <a:pt x="308" y="69"/>
                    </a:lnTo>
                    <a:lnTo>
                      <a:pt x="371" y="40"/>
                    </a:lnTo>
                    <a:lnTo>
                      <a:pt x="436" y="15"/>
                    </a:lnTo>
                    <a:lnTo>
                      <a:pt x="501" y="0"/>
                    </a:lnTo>
                    <a:lnTo>
                      <a:pt x="509" y="31"/>
                    </a:lnTo>
                    <a:lnTo>
                      <a:pt x="116" y="199"/>
                    </a:lnTo>
                    <a:lnTo>
                      <a:pt x="221" y="244"/>
                    </a:lnTo>
                    <a:lnTo>
                      <a:pt x="229" y="295"/>
                    </a:lnTo>
                    <a:lnTo>
                      <a:pt x="242" y="448"/>
                    </a:lnTo>
                    <a:lnTo>
                      <a:pt x="483" y="371"/>
                    </a:lnTo>
                    <a:lnTo>
                      <a:pt x="604" y="327"/>
                    </a:lnTo>
                    <a:lnTo>
                      <a:pt x="721" y="295"/>
                    </a:lnTo>
                    <a:lnTo>
                      <a:pt x="734" y="327"/>
                    </a:lnTo>
                    <a:lnTo>
                      <a:pt x="655" y="346"/>
                    </a:lnTo>
                    <a:lnTo>
                      <a:pt x="561" y="378"/>
                    </a:lnTo>
                    <a:lnTo>
                      <a:pt x="458" y="414"/>
                    </a:lnTo>
                    <a:lnTo>
                      <a:pt x="352" y="451"/>
                    </a:lnTo>
                    <a:lnTo>
                      <a:pt x="251" y="484"/>
                    </a:lnTo>
                    <a:lnTo>
                      <a:pt x="163" y="510"/>
                    </a:lnTo>
                    <a:lnTo>
                      <a:pt x="51" y="518"/>
                    </a:lnTo>
                    <a:lnTo>
                      <a:pt x="0" y="470"/>
                    </a:lnTo>
                    <a:lnTo>
                      <a:pt x="33" y="441"/>
                    </a:lnTo>
                    <a:lnTo>
                      <a:pt x="42" y="470"/>
                    </a:lnTo>
                    <a:lnTo>
                      <a:pt x="62" y="488"/>
                    </a:lnTo>
                    <a:lnTo>
                      <a:pt x="115" y="498"/>
                    </a:lnTo>
                    <a:lnTo>
                      <a:pt x="166" y="481"/>
                    </a:lnTo>
                    <a:lnTo>
                      <a:pt x="184" y="448"/>
                    </a:lnTo>
                    <a:lnTo>
                      <a:pt x="93" y="459"/>
                    </a:lnTo>
                    <a:lnTo>
                      <a:pt x="98" y="379"/>
                    </a:lnTo>
                    <a:lnTo>
                      <a:pt x="54" y="379"/>
                    </a:lnTo>
                    <a:lnTo>
                      <a:pt x="33" y="423"/>
                    </a:lnTo>
                    <a:lnTo>
                      <a:pt x="3" y="430"/>
                    </a:lnTo>
                    <a:lnTo>
                      <a:pt x="4" y="386"/>
                    </a:lnTo>
                    <a:lnTo>
                      <a:pt x="20" y="353"/>
                    </a:lnTo>
                    <a:lnTo>
                      <a:pt x="73" y="308"/>
                    </a:lnTo>
                    <a:lnTo>
                      <a:pt x="134" y="287"/>
                    </a:lnTo>
                    <a:lnTo>
                      <a:pt x="178" y="284"/>
                    </a:lnTo>
                    <a:lnTo>
                      <a:pt x="180" y="257"/>
                    </a:lnTo>
                    <a:lnTo>
                      <a:pt x="156" y="235"/>
                    </a:lnTo>
                    <a:lnTo>
                      <a:pt x="54" y="22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0" name="Freeform 316"/>
              <p:cNvSpPr>
                <a:spLocks/>
              </p:cNvSpPr>
              <p:nvPr/>
            </p:nvSpPr>
            <p:spPr bwMode="auto">
              <a:xfrm>
                <a:off x="4779" y="1517"/>
                <a:ext cx="329" cy="115"/>
              </a:xfrm>
              <a:custGeom>
                <a:avLst/>
                <a:gdLst>
                  <a:gd name="T0" fmla="*/ 944 w 986"/>
                  <a:gd name="T1" fmla="*/ 256 h 345"/>
                  <a:gd name="T2" fmla="*/ 986 w 986"/>
                  <a:gd name="T3" fmla="*/ 282 h 345"/>
                  <a:gd name="T4" fmla="*/ 923 w 986"/>
                  <a:gd name="T5" fmla="*/ 345 h 345"/>
                  <a:gd name="T6" fmla="*/ 852 w 986"/>
                  <a:gd name="T7" fmla="*/ 293 h 345"/>
                  <a:gd name="T8" fmla="*/ 855 w 986"/>
                  <a:gd name="T9" fmla="*/ 212 h 345"/>
                  <a:gd name="T10" fmla="*/ 841 w 986"/>
                  <a:gd name="T11" fmla="*/ 173 h 345"/>
                  <a:gd name="T12" fmla="*/ 754 w 986"/>
                  <a:gd name="T13" fmla="*/ 71 h 345"/>
                  <a:gd name="T14" fmla="*/ 652 w 986"/>
                  <a:gd name="T15" fmla="*/ 90 h 345"/>
                  <a:gd name="T16" fmla="*/ 419 w 986"/>
                  <a:gd name="T17" fmla="*/ 136 h 345"/>
                  <a:gd name="T18" fmla="*/ 223 w 986"/>
                  <a:gd name="T19" fmla="*/ 181 h 345"/>
                  <a:gd name="T20" fmla="*/ 30 w 986"/>
                  <a:gd name="T21" fmla="*/ 232 h 345"/>
                  <a:gd name="T22" fmla="*/ 0 w 986"/>
                  <a:gd name="T23" fmla="*/ 206 h 345"/>
                  <a:gd name="T24" fmla="*/ 94 w 986"/>
                  <a:gd name="T25" fmla="*/ 175 h 345"/>
                  <a:gd name="T26" fmla="*/ 189 w 986"/>
                  <a:gd name="T27" fmla="*/ 146 h 345"/>
                  <a:gd name="T28" fmla="*/ 288 w 986"/>
                  <a:gd name="T29" fmla="*/ 117 h 345"/>
                  <a:gd name="T30" fmla="*/ 387 w 986"/>
                  <a:gd name="T31" fmla="*/ 89 h 345"/>
                  <a:gd name="T32" fmla="*/ 488 w 986"/>
                  <a:gd name="T33" fmla="*/ 63 h 345"/>
                  <a:gd name="T34" fmla="*/ 586 w 986"/>
                  <a:gd name="T35" fmla="*/ 39 h 345"/>
                  <a:gd name="T36" fmla="*/ 684 w 986"/>
                  <a:gd name="T37" fmla="*/ 17 h 345"/>
                  <a:gd name="T38" fmla="*/ 776 w 986"/>
                  <a:gd name="T39" fmla="*/ 0 h 345"/>
                  <a:gd name="T40" fmla="*/ 861 w 986"/>
                  <a:gd name="T41" fmla="*/ 73 h 345"/>
                  <a:gd name="T42" fmla="*/ 944 w 986"/>
                  <a:gd name="T43" fmla="*/ 256 h 345"/>
                  <a:gd name="T44" fmla="*/ 944 w 986"/>
                  <a:gd name="T45" fmla="*/ 256 h 3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6"/>
                  <a:gd name="T70" fmla="*/ 0 h 345"/>
                  <a:gd name="T71" fmla="*/ 986 w 986"/>
                  <a:gd name="T72" fmla="*/ 345 h 34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6" h="345">
                    <a:moveTo>
                      <a:pt x="944" y="256"/>
                    </a:moveTo>
                    <a:lnTo>
                      <a:pt x="986" y="282"/>
                    </a:lnTo>
                    <a:lnTo>
                      <a:pt x="923" y="345"/>
                    </a:lnTo>
                    <a:lnTo>
                      <a:pt x="852" y="293"/>
                    </a:lnTo>
                    <a:lnTo>
                      <a:pt x="855" y="212"/>
                    </a:lnTo>
                    <a:lnTo>
                      <a:pt x="841" y="173"/>
                    </a:lnTo>
                    <a:lnTo>
                      <a:pt x="754" y="71"/>
                    </a:lnTo>
                    <a:lnTo>
                      <a:pt x="652" y="90"/>
                    </a:lnTo>
                    <a:lnTo>
                      <a:pt x="419" y="136"/>
                    </a:lnTo>
                    <a:lnTo>
                      <a:pt x="223" y="181"/>
                    </a:lnTo>
                    <a:lnTo>
                      <a:pt x="30" y="232"/>
                    </a:lnTo>
                    <a:lnTo>
                      <a:pt x="0" y="206"/>
                    </a:lnTo>
                    <a:lnTo>
                      <a:pt x="94" y="175"/>
                    </a:lnTo>
                    <a:lnTo>
                      <a:pt x="189" y="146"/>
                    </a:lnTo>
                    <a:lnTo>
                      <a:pt x="288" y="117"/>
                    </a:lnTo>
                    <a:lnTo>
                      <a:pt x="387" y="89"/>
                    </a:lnTo>
                    <a:lnTo>
                      <a:pt x="488" y="63"/>
                    </a:lnTo>
                    <a:lnTo>
                      <a:pt x="586" y="39"/>
                    </a:lnTo>
                    <a:lnTo>
                      <a:pt x="684" y="17"/>
                    </a:lnTo>
                    <a:lnTo>
                      <a:pt x="776" y="0"/>
                    </a:lnTo>
                    <a:lnTo>
                      <a:pt x="861" y="73"/>
                    </a:lnTo>
                    <a:lnTo>
                      <a:pt x="944" y="2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1" name="Freeform 317"/>
              <p:cNvSpPr>
                <a:spLocks/>
              </p:cNvSpPr>
              <p:nvPr/>
            </p:nvSpPr>
            <p:spPr bwMode="auto">
              <a:xfrm>
                <a:off x="5032" y="1566"/>
                <a:ext cx="322" cy="395"/>
              </a:xfrm>
              <a:custGeom>
                <a:avLst/>
                <a:gdLst>
                  <a:gd name="T0" fmla="*/ 0 w 966"/>
                  <a:gd name="T1" fmla="*/ 398 h 1186"/>
                  <a:gd name="T2" fmla="*/ 34 w 966"/>
                  <a:gd name="T3" fmla="*/ 505 h 1186"/>
                  <a:gd name="T4" fmla="*/ 384 w 966"/>
                  <a:gd name="T5" fmla="*/ 147 h 1186"/>
                  <a:gd name="T6" fmla="*/ 485 w 966"/>
                  <a:gd name="T7" fmla="*/ 216 h 1186"/>
                  <a:gd name="T8" fmla="*/ 681 w 966"/>
                  <a:gd name="T9" fmla="*/ 611 h 1186"/>
                  <a:gd name="T10" fmla="*/ 821 w 966"/>
                  <a:gd name="T11" fmla="*/ 646 h 1186"/>
                  <a:gd name="T12" fmla="*/ 750 w 966"/>
                  <a:gd name="T13" fmla="*/ 718 h 1186"/>
                  <a:gd name="T14" fmla="*/ 828 w 966"/>
                  <a:gd name="T15" fmla="*/ 906 h 1186"/>
                  <a:gd name="T16" fmla="*/ 299 w 966"/>
                  <a:gd name="T17" fmla="*/ 1135 h 1186"/>
                  <a:gd name="T18" fmla="*/ 377 w 966"/>
                  <a:gd name="T19" fmla="*/ 1186 h 1186"/>
                  <a:gd name="T20" fmla="*/ 450 w 966"/>
                  <a:gd name="T21" fmla="*/ 1131 h 1186"/>
                  <a:gd name="T22" fmla="*/ 543 w 966"/>
                  <a:gd name="T23" fmla="*/ 1127 h 1186"/>
                  <a:gd name="T24" fmla="*/ 646 w 966"/>
                  <a:gd name="T25" fmla="*/ 1052 h 1186"/>
                  <a:gd name="T26" fmla="*/ 746 w 966"/>
                  <a:gd name="T27" fmla="*/ 1048 h 1186"/>
                  <a:gd name="T28" fmla="*/ 780 w 966"/>
                  <a:gd name="T29" fmla="*/ 996 h 1186"/>
                  <a:gd name="T30" fmla="*/ 911 w 966"/>
                  <a:gd name="T31" fmla="*/ 975 h 1186"/>
                  <a:gd name="T32" fmla="*/ 939 w 966"/>
                  <a:gd name="T33" fmla="*/ 931 h 1186"/>
                  <a:gd name="T34" fmla="*/ 966 w 966"/>
                  <a:gd name="T35" fmla="*/ 942 h 1186"/>
                  <a:gd name="T36" fmla="*/ 773 w 966"/>
                  <a:gd name="T37" fmla="*/ 525 h 1186"/>
                  <a:gd name="T38" fmla="*/ 416 w 966"/>
                  <a:gd name="T39" fmla="*/ 0 h 1186"/>
                  <a:gd name="T40" fmla="*/ 0 w 966"/>
                  <a:gd name="T41" fmla="*/ 398 h 1186"/>
                  <a:gd name="T42" fmla="*/ 0 w 966"/>
                  <a:gd name="T43" fmla="*/ 398 h 118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66"/>
                  <a:gd name="T67" fmla="*/ 0 h 1186"/>
                  <a:gd name="T68" fmla="*/ 966 w 966"/>
                  <a:gd name="T69" fmla="*/ 1186 h 118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66" h="1186">
                    <a:moveTo>
                      <a:pt x="0" y="398"/>
                    </a:moveTo>
                    <a:lnTo>
                      <a:pt x="34" y="505"/>
                    </a:lnTo>
                    <a:lnTo>
                      <a:pt x="384" y="147"/>
                    </a:lnTo>
                    <a:lnTo>
                      <a:pt x="485" y="216"/>
                    </a:lnTo>
                    <a:lnTo>
                      <a:pt x="681" y="611"/>
                    </a:lnTo>
                    <a:lnTo>
                      <a:pt x="821" y="646"/>
                    </a:lnTo>
                    <a:lnTo>
                      <a:pt x="750" y="718"/>
                    </a:lnTo>
                    <a:lnTo>
                      <a:pt x="828" y="906"/>
                    </a:lnTo>
                    <a:lnTo>
                      <a:pt x="299" y="1135"/>
                    </a:lnTo>
                    <a:lnTo>
                      <a:pt x="377" y="1186"/>
                    </a:lnTo>
                    <a:lnTo>
                      <a:pt x="450" y="1131"/>
                    </a:lnTo>
                    <a:lnTo>
                      <a:pt x="543" y="1127"/>
                    </a:lnTo>
                    <a:lnTo>
                      <a:pt x="646" y="1052"/>
                    </a:lnTo>
                    <a:lnTo>
                      <a:pt x="746" y="1048"/>
                    </a:lnTo>
                    <a:lnTo>
                      <a:pt x="780" y="996"/>
                    </a:lnTo>
                    <a:lnTo>
                      <a:pt x="911" y="975"/>
                    </a:lnTo>
                    <a:lnTo>
                      <a:pt x="939" y="931"/>
                    </a:lnTo>
                    <a:lnTo>
                      <a:pt x="966" y="942"/>
                    </a:lnTo>
                    <a:lnTo>
                      <a:pt x="773" y="525"/>
                    </a:lnTo>
                    <a:lnTo>
                      <a:pt x="416" y="0"/>
                    </a:lnTo>
                    <a:lnTo>
                      <a:pt x="0" y="398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2" name="Freeform 318"/>
              <p:cNvSpPr>
                <a:spLocks/>
              </p:cNvSpPr>
              <p:nvPr/>
            </p:nvSpPr>
            <p:spPr bwMode="auto">
              <a:xfrm>
                <a:off x="4723" y="1966"/>
                <a:ext cx="356" cy="123"/>
              </a:xfrm>
              <a:custGeom>
                <a:avLst/>
                <a:gdLst>
                  <a:gd name="T0" fmla="*/ 322 w 1067"/>
                  <a:gd name="T1" fmla="*/ 140 h 368"/>
                  <a:gd name="T2" fmla="*/ 331 w 1067"/>
                  <a:gd name="T3" fmla="*/ 216 h 368"/>
                  <a:gd name="T4" fmla="*/ 945 w 1067"/>
                  <a:gd name="T5" fmla="*/ 0 h 368"/>
                  <a:gd name="T6" fmla="*/ 1067 w 1067"/>
                  <a:gd name="T7" fmla="*/ 58 h 368"/>
                  <a:gd name="T8" fmla="*/ 994 w 1067"/>
                  <a:gd name="T9" fmla="*/ 92 h 368"/>
                  <a:gd name="T10" fmla="*/ 863 w 1067"/>
                  <a:gd name="T11" fmla="*/ 106 h 368"/>
                  <a:gd name="T12" fmla="*/ 819 w 1067"/>
                  <a:gd name="T13" fmla="*/ 147 h 368"/>
                  <a:gd name="T14" fmla="*/ 708 w 1067"/>
                  <a:gd name="T15" fmla="*/ 154 h 368"/>
                  <a:gd name="T16" fmla="*/ 660 w 1067"/>
                  <a:gd name="T17" fmla="*/ 219 h 368"/>
                  <a:gd name="T18" fmla="*/ 568 w 1067"/>
                  <a:gd name="T19" fmla="*/ 206 h 368"/>
                  <a:gd name="T20" fmla="*/ 526 w 1067"/>
                  <a:gd name="T21" fmla="*/ 255 h 368"/>
                  <a:gd name="T22" fmla="*/ 433 w 1067"/>
                  <a:gd name="T23" fmla="*/ 240 h 368"/>
                  <a:gd name="T24" fmla="*/ 384 w 1067"/>
                  <a:gd name="T25" fmla="*/ 299 h 368"/>
                  <a:gd name="T26" fmla="*/ 282 w 1067"/>
                  <a:gd name="T27" fmla="*/ 278 h 368"/>
                  <a:gd name="T28" fmla="*/ 230 w 1067"/>
                  <a:gd name="T29" fmla="*/ 326 h 368"/>
                  <a:gd name="T30" fmla="*/ 135 w 1067"/>
                  <a:gd name="T31" fmla="*/ 317 h 368"/>
                  <a:gd name="T32" fmla="*/ 85 w 1067"/>
                  <a:gd name="T33" fmla="*/ 354 h 368"/>
                  <a:gd name="T34" fmla="*/ 0 w 1067"/>
                  <a:gd name="T35" fmla="*/ 368 h 368"/>
                  <a:gd name="T36" fmla="*/ 147 w 1067"/>
                  <a:gd name="T37" fmla="*/ 189 h 368"/>
                  <a:gd name="T38" fmla="*/ 322 w 1067"/>
                  <a:gd name="T39" fmla="*/ 140 h 368"/>
                  <a:gd name="T40" fmla="*/ 322 w 1067"/>
                  <a:gd name="T41" fmla="*/ 140 h 36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67"/>
                  <a:gd name="T64" fmla="*/ 0 h 368"/>
                  <a:gd name="T65" fmla="*/ 1067 w 1067"/>
                  <a:gd name="T66" fmla="*/ 368 h 36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67" h="368">
                    <a:moveTo>
                      <a:pt x="322" y="140"/>
                    </a:moveTo>
                    <a:lnTo>
                      <a:pt x="331" y="216"/>
                    </a:lnTo>
                    <a:lnTo>
                      <a:pt x="945" y="0"/>
                    </a:lnTo>
                    <a:lnTo>
                      <a:pt x="1067" y="58"/>
                    </a:lnTo>
                    <a:lnTo>
                      <a:pt x="994" y="92"/>
                    </a:lnTo>
                    <a:lnTo>
                      <a:pt x="863" y="106"/>
                    </a:lnTo>
                    <a:lnTo>
                      <a:pt x="819" y="147"/>
                    </a:lnTo>
                    <a:lnTo>
                      <a:pt x="708" y="154"/>
                    </a:lnTo>
                    <a:lnTo>
                      <a:pt x="660" y="219"/>
                    </a:lnTo>
                    <a:lnTo>
                      <a:pt x="568" y="206"/>
                    </a:lnTo>
                    <a:lnTo>
                      <a:pt x="526" y="255"/>
                    </a:lnTo>
                    <a:lnTo>
                      <a:pt x="433" y="240"/>
                    </a:lnTo>
                    <a:lnTo>
                      <a:pt x="384" y="299"/>
                    </a:lnTo>
                    <a:lnTo>
                      <a:pt x="282" y="278"/>
                    </a:lnTo>
                    <a:lnTo>
                      <a:pt x="230" y="326"/>
                    </a:lnTo>
                    <a:lnTo>
                      <a:pt x="135" y="317"/>
                    </a:lnTo>
                    <a:lnTo>
                      <a:pt x="85" y="354"/>
                    </a:lnTo>
                    <a:lnTo>
                      <a:pt x="0" y="368"/>
                    </a:lnTo>
                    <a:lnTo>
                      <a:pt x="147" y="189"/>
                    </a:lnTo>
                    <a:lnTo>
                      <a:pt x="322" y="14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3" name="Freeform 319"/>
              <p:cNvSpPr>
                <a:spLocks/>
              </p:cNvSpPr>
              <p:nvPr/>
            </p:nvSpPr>
            <p:spPr bwMode="auto">
              <a:xfrm>
                <a:off x="4848" y="1890"/>
                <a:ext cx="68" cy="41"/>
              </a:xfrm>
              <a:custGeom>
                <a:avLst/>
                <a:gdLst>
                  <a:gd name="T0" fmla="*/ 96 w 202"/>
                  <a:gd name="T1" fmla="*/ 0 h 124"/>
                  <a:gd name="T2" fmla="*/ 0 w 202"/>
                  <a:gd name="T3" fmla="*/ 124 h 124"/>
                  <a:gd name="T4" fmla="*/ 110 w 202"/>
                  <a:gd name="T5" fmla="*/ 107 h 124"/>
                  <a:gd name="T6" fmla="*/ 202 w 202"/>
                  <a:gd name="T7" fmla="*/ 28 h 124"/>
                  <a:gd name="T8" fmla="*/ 96 w 202"/>
                  <a:gd name="T9" fmla="*/ 0 h 124"/>
                  <a:gd name="T10" fmla="*/ 96 w 202"/>
                  <a:gd name="T11" fmla="*/ 0 h 1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2"/>
                  <a:gd name="T19" fmla="*/ 0 h 124"/>
                  <a:gd name="T20" fmla="*/ 202 w 202"/>
                  <a:gd name="T21" fmla="*/ 124 h 1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2" h="124">
                    <a:moveTo>
                      <a:pt x="96" y="0"/>
                    </a:moveTo>
                    <a:lnTo>
                      <a:pt x="0" y="124"/>
                    </a:lnTo>
                    <a:lnTo>
                      <a:pt x="110" y="107"/>
                    </a:lnTo>
                    <a:lnTo>
                      <a:pt x="202" y="28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4" name="Freeform 320"/>
              <p:cNvSpPr>
                <a:spLocks/>
              </p:cNvSpPr>
              <p:nvPr/>
            </p:nvSpPr>
            <p:spPr bwMode="auto">
              <a:xfrm>
                <a:off x="4957" y="1729"/>
                <a:ext cx="45" cy="44"/>
              </a:xfrm>
              <a:custGeom>
                <a:avLst/>
                <a:gdLst>
                  <a:gd name="T0" fmla="*/ 131 w 134"/>
                  <a:gd name="T1" fmla="*/ 0 h 131"/>
                  <a:gd name="T2" fmla="*/ 0 w 134"/>
                  <a:gd name="T3" fmla="*/ 131 h 131"/>
                  <a:gd name="T4" fmla="*/ 134 w 134"/>
                  <a:gd name="T5" fmla="*/ 115 h 131"/>
                  <a:gd name="T6" fmla="*/ 131 w 134"/>
                  <a:gd name="T7" fmla="*/ 0 h 131"/>
                  <a:gd name="T8" fmla="*/ 131 w 134"/>
                  <a:gd name="T9" fmla="*/ 0 h 1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4"/>
                  <a:gd name="T16" fmla="*/ 0 h 131"/>
                  <a:gd name="T17" fmla="*/ 134 w 134"/>
                  <a:gd name="T18" fmla="*/ 131 h 1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4" h="131">
                    <a:moveTo>
                      <a:pt x="131" y="0"/>
                    </a:moveTo>
                    <a:lnTo>
                      <a:pt x="0" y="131"/>
                    </a:lnTo>
                    <a:lnTo>
                      <a:pt x="134" y="115"/>
                    </a:lnTo>
                    <a:lnTo>
                      <a:pt x="131" y="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5" name="Freeform 321"/>
              <p:cNvSpPr>
                <a:spLocks/>
              </p:cNvSpPr>
              <p:nvPr/>
            </p:nvSpPr>
            <p:spPr bwMode="auto">
              <a:xfrm>
                <a:off x="4813" y="1400"/>
                <a:ext cx="20" cy="51"/>
              </a:xfrm>
              <a:custGeom>
                <a:avLst/>
                <a:gdLst>
                  <a:gd name="T0" fmla="*/ 6 w 61"/>
                  <a:gd name="T1" fmla="*/ 0 h 154"/>
                  <a:gd name="T2" fmla="*/ 0 w 61"/>
                  <a:gd name="T3" fmla="*/ 154 h 154"/>
                  <a:gd name="T4" fmla="*/ 61 w 61"/>
                  <a:gd name="T5" fmla="*/ 110 h 154"/>
                  <a:gd name="T6" fmla="*/ 6 w 61"/>
                  <a:gd name="T7" fmla="*/ 0 h 154"/>
                  <a:gd name="T8" fmla="*/ 6 w 61"/>
                  <a:gd name="T9" fmla="*/ 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"/>
                  <a:gd name="T16" fmla="*/ 0 h 154"/>
                  <a:gd name="T17" fmla="*/ 61 w 61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" h="154">
                    <a:moveTo>
                      <a:pt x="6" y="0"/>
                    </a:moveTo>
                    <a:lnTo>
                      <a:pt x="0" y="154"/>
                    </a:lnTo>
                    <a:lnTo>
                      <a:pt x="61" y="11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6" name="Freeform 322"/>
              <p:cNvSpPr>
                <a:spLocks/>
              </p:cNvSpPr>
              <p:nvPr/>
            </p:nvSpPr>
            <p:spPr bwMode="auto">
              <a:xfrm>
                <a:off x="4934" y="1436"/>
                <a:ext cx="46" cy="37"/>
              </a:xfrm>
              <a:custGeom>
                <a:avLst/>
                <a:gdLst>
                  <a:gd name="T0" fmla="*/ 116 w 138"/>
                  <a:gd name="T1" fmla="*/ 0 h 110"/>
                  <a:gd name="T2" fmla="*/ 0 w 138"/>
                  <a:gd name="T3" fmla="*/ 99 h 110"/>
                  <a:gd name="T4" fmla="*/ 138 w 138"/>
                  <a:gd name="T5" fmla="*/ 110 h 110"/>
                  <a:gd name="T6" fmla="*/ 116 w 138"/>
                  <a:gd name="T7" fmla="*/ 0 h 110"/>
                  <a:gd name="T8" fmla="*/ 116 w 138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8"/>
                  <a:gd name="T16" fmla="*/ 0 h 110"/>
                  <a:gd name="T17" fmla="*/ 138 w 138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8" h="110">
                    <a:moveTo>
                      <a:pt x="116" y="0"/>
                    </a:moveTo>
                    <a:lnTo>
                      <a:pt x="0" y="99"/>
                    </a:lnTo>
                    <a:lnTo>
                      <a:pt x="138" y="11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7" name="Freeform 323"/>
              <p:cNvSpPr>
                <a:spLocks/>
              </p:cNvSpPr>
              <p:nvPr/>
            </p:nvSpPr>
            <p:spPr bwMode="auto">
              <a:xfrm>
                <a:off x="4840" y="1517"/>
                <a:ext cx="37" cy="28"/>
              </a:xfrm>
              <a:custGeom>
                <a:avLst/>
                <a:gdLst>
                  <a:gd name="T0" fmla="*/ 0 w 110"/>
                  <a:gd name="T1" fmla="*/ 0 h 84"/>
                  <a:gd name="T2" fmla="*/ 72 w 110"/>
                  <a:gd name="T3" fmla="*/ 84 h 84"/>
                  <a:gd name="T4" fmla="*/ 110 w 110"/>
                  <a:gd name="T5" fmla="*/ 11 h 84"/>
                  <a:gd name="T6" fmla="*/ 0 w 110"/>
                  <a:gd name="T7" fmla="*/ 0 h 84"/>
                  <a:gd name="T8" fmla="*/ 0 w 110"/>
                  <a:gd name="T9" fmla="*/ 0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84"/>
                  <a:gd name="T17" fmla="*/ 110 w 110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84">
                    <a:moveTo>
                      <a:pt x="0" y="0"/>
                    </a:moveTo>
                    <a:lnTo>
                      <a:pt x="72" y="84"/>
                    </a:lnTo>
                    <a:lnTo>
                      <a:pt x="11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8" name="Freeform 324"/>
              <p:cNvSpPr>
                <a:spLocks/>
              </p:cNvSpPr>
              <p:nvPr/>
            </p:nvSpPr>
            <p:spPr bwMode="auto">
              <a:xfrm>
                <a:off x="4506" y="1696"/>
                <a:ext cx="37" cy="57"/>
              </a:xfrm>
              <a:custGeom>
                <a:avLst/>
                <a:gdLst>
                  <a:gd name="T0" fmla="*/ 0 w 110"/>
                  <a:gd name="T1" fmla="*/ 66 h 170"/>
                  <a:gd name="T2" fmla="*/ 97 w 110"/>
                  <a:gd name="T3" fmla="*/ 170 h 170"/>
                  <a:gd name="T4" fmla="*/ 110 w 110"/>
                  <a:gd name="T5" fmla="*/ 0 h 170"/>
                  <a:gd name="T6" fmla="*/ 0 w 110"/>
                  <a:gd name="T7" fmla="*/ 66 h 170"/>
                  <a:gd name="T8" fmla="*/ 0 w 110"/>
                  <a:gd name="T9" fmla="*/ 66 h 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170"/>
                  <a:gd name="T17" fmla="*/ 110 w 110"/>
                  <a:gd name="T18" fmla="*/ 170 h 1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170">
                    <a:moveTo>
                      <a:pt x="0" y="66"/>
                    </a:moveTo>
                    <a:lnTo>
                      <a:pt x="97" y="170"/>
                    </a:lnTo>
                    <a:lnTo>
                      <a:pt x="110" y="0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9" name="Freeform 325"/>
              <p:cNvSpPr>
                <a:spLocks/>
              </p:cNvSpPr>
              <p:nvPr/>
            </p:nvSpPr>
            <p:spPr bwMode="auto">
              <a:xfrm>
                <a:off x="4516" y="1829"/>
                <a:ext cx="47" cy="22"/>
              </a:xfrm>
              <a:custGeom>
                <a:avLst/>
                <a:gdLst>
                  <a:gd name="T0" fmla="*/ 79 w 140"/>
                  <a:gd name="T1" fmla="*/ 0 h 66"/>
                  <a:gd name="T2" fmla="*/ 0 w 140"/>
                  <a:gd name="T3" fmla="*/ 66 h 66"/>
                  <a:gd name="T4" fmla="*/ 140 w 140"/>
                  <a:gd name="T5" fmla="*/ 60 h 66"/>
                  <a:gd name="T6" fmla="*/ 79 w 140"/>
                  <a:gd name="T7" fmla="*/ 0 h 66"/>
                  <a:gd name="T8" fmla="*/ 79 w 140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66"/>
                  <a:gd name="T17" fmla="*/ 140 w 140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66">
                    <a:moveTo>
                      <a:pt x="79" y="0"/>
                    </a:moveTo>
                    <a:lnTo>
                      <a:pt x="0" y="66"/>
                    </a:lnTo>
                    <a:lnTo>
                      <a:pt x="140" y="60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0" name="Freeform 326"/>
              <p:cNvSpPr>
                <a:spLocks/>
              </p:cNvSpPr>
              <p:nvPr/>
            </p:nvSpPr>
            <p:spPr bwMode="auto">
              <a:xfrm>
                <a:off x="4458" y="1779"/>
                <a:ext cx="20" cy="29"/>
              </a:xfrm>
              <a:custGeom>
                <a:avLst/>
                <a:gdLst>
                  <a:gd name="T0" fmla="*/ 0 w 60"/>
                  <a:gd name="T1" fmla="*/ 88 h 88"/>
                  <a:gd name="T2" fmla="*/ 60 w 60"/>
                  <a:gd name="T3" fmla="*/ 83 h 88"/>
                  <a:gd name="T4" fmla="*/ 27 w 60"/>
                  <a:gd name="T5" fmla="*/ 0 h 88"/>
                  <a:gd name="T6" fmla="*/ 0 w 60"/>
                  <a:gd name="T7" fmla="*/ 88 h 88"/>
                  <a:gd name="T8" fmla="*/ 0 w 60"/>
                  <a:gd name="T9" fmla="*/ 88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0"/>
                  <a:gd name="T16" fmla="*/ 0 h 88"/>
                  <a:gd name="T17" fmla="*/ 60 w 60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0" h="88">
                    <a:moveTo>
                      <a:pt x="0" y="88"/>
                    </a:moveTo>
                    <a:lnTo>
                      <a:pt x="60" y="83"/>
                    </a:lnTo>
                    <a:lnTo>
                      <a:pt x="27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1" name="Freeform 327"/>
              <p:cNvSpPr>
                <a:spLocks/>
              </p:cNvSpPr>
              <p:nvPr/>
            </p:nvSpPr>
            <p:spPr bwMode="auto">
              <a:xfrm>
                <a:off x="4737" y="1527"/>
                <a:ext cx="28" cy="25"/>
              </a:xfrm>
              <a:custGeom>
                <a:avLst/>
                <a:gdLst>
                  <a:gd name="T0" fmla="*/ 0 w 83"/>
                  <a:gd name="T1" fmla="*/ 0 h 76"/>
                  <a:gd name="T2" fmla="*/ 83 w 83"/>
                  <a:gd name="T3" fmla="*/ 17 h 76"/>
                  <a:gd name="T4" fmla="*/ 39 w 83"/>
                  <a:gd name="T5" fmla="*/ 76 h 76"/>
                  <a:gd name="T6" fmla="*/ 0 w 83"/>
                  <a:gd name="T7" fmla="*/ 0 h 76"/>
                  <a:gd name="T8" fmla="*/ 0 w 83"/>
                  <a:gd name="T9" fmla="*/ 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3"/>
                  <a:gd name="T16" fmla="*/ 0 h 76"/>
                  <a:gd name="T17" fmla="*/ 83 w 83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3" h="76">
                    <a:moveTo>
                      <a:pt x="0" y="0"/>
                    </a:moveTo>
                    <a:lnTo>
                      <a:pt x="83" y="17"/>
                    </a:lnTo>
                    <a:lnTo>
                      <a:pt x="39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2" name="Freeform 328"/>
              <p:cNvSpPr>
                <a:spLocks/>
              </p:cNvSpPr>
              <p:nvPr/>
            </p:nvSpPr>
            <p:spPr bwMode="auto">
              <a:xfrm>
                <a:off x="5238" y="1556"/>
                <a:ext cx="27" cy="22"/>
              </a:xfrm>
              <a:custGeom>
                <a:avLst/>
                <a:gdLst>
                  <a:gd name="T0" fmla="*/ 0 w 82"/>
                  <a:gd name="T1" fmla="*/ 0 h 66"/>
                  <a:gd name="T2" fmla="*/ 0 w 82"/>
                  <a:gd name="T3" fmla="*/ 66 h 66"/>
                  <a:gd name="T4" fmla="*/ 82 w 82"/>
                  <a:gd name="T5" fmla="*/ 38 h 66"/>
                  <a:gd name="T6" fmla="*/ 0 w 82"/>
                  <a:gd name="T7" fmla="*/ 0 h 66"/>
                  <a:gd name="T8" fmla="*/ 0 w 82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66"/>
                  <a:gd name="T17" fmla="*/ 82 w 82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66">
                    <a:moveTo>
                      <a:pt x="0" y="0"/>
                    </a:moveTo>
                    <a:lnTo>
                      <a:pt x="0" y="66"/>
                    </a:lnTo>
                    <a:lnTo>
                      <a:pt x="82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3" name="Freeform 329"/>
              <p:cNvSpPr>
                <a:spLocks/>
              </p:cNvSpPr>
              <p:nvPr/>
            </p:nvSpPr>
            <p:spPr bwMode="auto">
              <a:xfrm>
                <a:off x="5271" y="1621"/>
                <a:ext cx="22" cy="36"/>
              </a:xfrm>
              <a:custGeom>
                <a:avLst/>
                <a:gdLst>
                  <a:gd name="T0" fmla="*/ 0 w 65"/>
                  <a:gd name="T1" fmla="*/ 0 h 110"/>
                  <a:gd name="T2" fmla="*/ 22 w 65"/>
                  <a:gd name="T3" fmla="*/ 110 h 110"/>
                  <a:gd name="T4" fmla="*/ 65 w 65"/>
                  <a:gd name="T5" fmla="*/ 27 h 110"/>
                  <a:gd name="T6" fmla="*/ 0 w 65"/>
                  <a:gd name="T7" fmla="*/ 0 h 110"/>
                  <a:gd name="T8" fmla="*/ 0 w 65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5"/>
                  <a:gd name="T16" fmla="*/ 0 h 110"/>
                  <a:gd name="T17" fmla="*/ 65 w 65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5" h="110">
                    <a:moveTo>
                      <a:pt x="0" y="0"/>
                    </a:moveTo>
                    <a:lnTo>
                      <a:pt x="22" y="110"/>
                    </a:lnTo>
                    <a:lnTo>
                      <a:pt x="65" y="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4" name="Freeform 330"/>
              <p:cNvSpPr>
                <a:spLocks/>
              </p:cNvSpPr>
              <p:nvPr/>
            </p:nvSpPr>
            <p:spPr bwMode="auto">
              <a:xfrm>
                <a:off x="4787" y="1935"/>
                <a:ext cx="199" cy="61"/>
              </a:xfrm>
              <a:custGeom>
                <a:avLst/>
                <a:gdLst>
                  <a:gd name="T0" fmla="*/ 0 w 597"/>
                  <a:gd name="T1" fmla="*/ 149 h 184"/>
                  <a:gd name="T2" fmla="*/ 0 w 597"/>
                  <a:gd name="T3" fmla="*/ 184 h 184"/>
                  <a:gd name="T4" fmla="*/ 597 w 597"/>
                  <a:gd name="T5" fmla="*/ 20 h 184"/>
                  <a:gd name="T6" fmla="*/ 560 w 597"/>
                  <a:gd name="T7" fmla="*/ 0 h 184"/>
                  <a:gd name="T8" fmla="*/ 0 w 597"/>
                  <a:gd name="T9" fmla="*/ 149 h 184"/>
                  <a:gd name="T10" fmla="*/ 0 w 597"/>
                  <a:gd name="T11" fmla="*/ 149 h 1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97"/>
                  <a:gd name="T19" fmla="*/ 0 h 184"/>
                  <a:gd name="T20" fmla="*/ 597 w 597"/>
                  <a:gd name="T21" fmla="*/ 184 h 1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97" h="184">
                    <a:moveTo>
                      <a:pt x="0" y="149"/>
                    </a:moveTo>
                    <a:lnTo>
                      <a:pt x="0" y="184"/>
                    </a:lnTo>
                    <a:lnTo>
                      <a:pt x="597" y="20"/>
                    </a:lnTo>
                    <a:lnTo>
                      <a:pt x="560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5" name="Freeform 331"/>
              <p:cNvSpPr>
                <a:spLocks/>
              </p:cNvSpPr>
              <p:nvPr/>
            </p:nvSpPr>
            <p:spPr bwMode="auto">
              <a:xfrm>
                <a:off x="5068" y="1891"/>
                <a:ext cx="101" cy="23"/>
              </a:xfrm>
              <a:custGeom>
                <a:avLst/>
                <a:gdLst>
                  <a:gd name="T0" fmla="*/ 0 w 303"/>
                  <a:gd name="T1" fmla="*/ 49 h 71"/>
                  <a:gd name="T2" fmla="*/ 37 w 303"/>
                  <a:gd name="T3" fmla="*/ 71 h 71"/>
                  <a:gd name="T4" fmla="*/ 296 w 303"/>
                  <a:gd name="T5" fmla="*/ 19 h 71"/>
                  <a:gd name="T6" fmla="*/ 303 w 303"/>
                  <a:gd name="T7" fmla="*/ 0 h 71"/>
                  <a:gd name="T8" fmla="*/ 0 w 303"/>
                  <a:gd name="T9" fmla="*/ 49 h 71"/>
                  <a:gd name="T10" fmla="*/ 0 w 303"/>
                  <a:gd name="T11" fmla="*/ 49 h 7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3"/>
                  <a:gd name="T19" fmla="*/ 0 h 71"/>
                  <a:gd name="T20" fmla="*/ 303 w 303"/>
                  <a:gd name="T21" fmla="*/ 71 h 7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3" h="71">
                    <a:moveTo>
                      <a:pt x="0" y="49"/>
                    </a:moveTo>
                    <a:lnTo>
                      <a:pt x="37" y="71"/>
                    </a:lnTo>
                    <a:lnTo>
                      <a:pt x="296" y="19"/>
                    </a:lnTo>
                    <a:lnTo>
                      <a:pt x="303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6" name="Freeform 332"/>
              <p:cNvSpPr>
                <a:spLocks/>
              </p:cNvSpPr>
              <p:nvPr/>
            </p:nvSpPr>
            <p:spPr bwMode="auto">
              <a:xfrm>
                <a:off x="4368" y="1354"/>
                <a:ext cx="453" cy="461"/>
              </a:xfrm>
              <a:custGeom>
                <a:avLst/>
                <a:gdLst>
                  <a:gd name="T0" fmla="*/ 1358 w 1358"/>
                  <a:gd name="T1" fmla="*/ 51 h 1384"/>
                  <a:gd name="T2" fmla="*/ 1020 w 1358"/>
                  <a:gd name="T3" fmla="*/ 354 h 1384"/>
                  <a:gd name="T4" fmla="*/ 616 w 1358"/>
                  <a:gd name="T5" fmla="*/ 776 h 1384"/>
                  <a:gd name="T6" fmla="*/ 240 w 1358"/>
                  <a:gd name="T7" fmla="*/ 1181 h 1384"/>
                  <a:gd name="T8" fmla="*/ 63 w 1358"/>
                  <a:gd name="T9" fmla="*/ 1384 h 1384"/>
                  <a:gd name="T10" fmla="*/ 0 w 1358"/>
                  <a:gd name="T11" fmla="*/ 1338 h 1384"/>
                  <a:gd name="T12" fmla="*/ 225 w 1358"/>
                  <a:gd name="T13" fmla="*/ 1143 h 1384"/>
                  <a:gd name="T14" fmla="*/ 580 w 1358"/>
                  <a:gd name="T15" fmla="*/ 765 h 1384"/>
                  <a:gd name="T16" fmla="*/ 994 w 1358"/>
                  <a:gd name="T17" fmla="*/ 335 h 1384"/>
                  <a:gd name="T18" fmla="*/ 1332 w 1358"/>
                  <a:gd name="T19" fmla="*/ 0 h 1384"/>
                  <a:gd name="T20" fmla="*/ 1358 w 1358"/>
                  <a:gd name="T21" fmla="*/ 51 h 1384"/>
                  <a:gd name="T22" fmla="*/ 1358 w 1358"/>
                  <a:gd name="T23" fmla="*/ 51 h 13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58"/>
                  <a:gd name="T37" fmla="*/ 0 h 1384"/>
                  <a:gd name="T38" fmla="*/ 1358 w 1358"/>
                  <a:gd name="T39" fmla="*/ 1384 h 138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58" h="1384">
                    <a:moveTo>
                      <a:pt x="1358" y="51"/>
                    </a:moveTo>
                    <a:lnTo>
                      <a:pt x="1020" y="354"/>
                    </a:lnTo>
                    <a:lnTo>
                      <a:pt x="616" y="776"/>
                    </a:lnTo>
                    <a:lnTo>
                      <a:pt x="240" y="1181"/>
                    </a:lnTo>
                    <a:lnTo>
                      <a:pt x="63" y="1384"/>
                    </a:lnTo>
                    <a:lnTo>
                      <a:pt x="0" y="1338"/>
                    </a:lnTo>
                    <a:lnTo>
                      <a:pt x="225" y="1143"/>
                    </a:lnTo>
                    <a:lnTo>
                      <a:pt x="580" y="765"/>
                    </a:lnTo>
                    <a:lnTo>
                      <a:pt x="994" y="335"/>
                    </a:lnTo>
                    <a:lnTo>
                      <a:pt x="1332" y="0"/>
                    </a:lnTo>
                    <a:lnTo>
                      <a:pt x="1358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" name="Freeform 333"/>
              <p:cNvSpPr>
                <a:spLocks/>
              </p:cNvSpPr>
              <p:nvPr/>
            </p:nvSpPr>
            <p:spPr bwMode="auto">
              <a:xfrm>
                <a:off x="4646" y="1573"/>
                <a:ext cx="20" cy="30"/>
              </a:xfrm>
              <a:custGeom>
                <a:avLst/>
                <a:gdLst>
                  <a:gd name="T0" fmla="*/ 0 w 60"/>
                  <a:gd name="T1" fmla="*/ 88 h 88"/>
                  <a:gd name="T2" fmla="*/ 60 w 60"/>
                  <a:gd name="T3" fmla="*/ 82 h 88"/>
                  <a:gd name="T4" fmla="*/ 27 w 60"/>
                  <a:gd name="T5" fmla="*/ 0 h 88"/>
                  <a:gd name="T6" fmla="*/ 0 w 60"/>
                  <a:gd name="T7" fmla="*/ 88 h 88"/>
                  <a:gd name="T8" fmla="*/ 0 w 60"/>
                  <a:gd name="T9" fmla="*/ 88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0"/>
                  <a:gd name="T16" fmla="*/ 0 h 88"/>
                  <a:gd name="T17" fmla="*/ 60 w 60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0" h="88">
                    <a:moveTo>
                      <a:pt x="0" y="88"/>
                    </a:moveTo>
                    <a:lnTo>
                      <a:pt x="60" y="82"/>
                    </a:lnTo>
                    <a:lnTo>
                      <a:pt x="27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8" name="Freeform 334"/>
              <p:cNvSpPr>
                <a:spLocks/>
              </p:cNvSpPr>
              <p:nvPr/>
            </p:nvSpPr>
            <p:spPr bwMode="auto">
              <a:xfrm>
                <a:off x="4809" y="1353"/>
                <a:ext cx="582" cy="273"/>
              </a:xfrm>
              <a:custGeom>
                <a:avLst/>
                <a:gdLst>
                  <a:gd name="T0" fmla="*/ 0 w 1747"/>
                  <a:gd name="T1" fmla="*/ 0 h 817"/>
                  <a:gd name="T2" fmla="*/ 32 w 1747"/>
                  <a:gd name="T3" fmla="*/ 62 h 817"/>
                  <a:gd name="T4" fmla="*/ 724 w 1747"/>
                  <a:gd name="T5" fmla="*/ 292 h 817"/>
                  <a:gd name="T6" fmla="*/ 1664 w 1747"/>
                  <a:gd name="T7" fmla="*/ 731 h 817"/>
                  <a:gd name="T8" fmla="*/ 1601 w 1747"/>
                  <a:gd name="T9" fmla="*/ 817 h 817"/>
                  <a:gd name="T10" fmla="*/ 1710 w 1747"/>
                  <a:gd name="T11" fmla="*/ 745 h 817"/>
                  <a:gd name="T12" fmla="*/ 1747 w 1747"/>
                  <a:gd name="T13" fmla="*/ 723 h 817"/>
                  <a:gd name="T14" fmla="*/ 1000 w 1747"/>
                  <a:gd name="T15" fmla="*/ 362 h 817"/>
                  <a:gd name="T16" fmla="*/ 415 w 1747"/>
                  <a:gd name="T17" fmla="*/ 114 h 817"/>
                  <a:gd name="T18" fmla="*/ 0 w 1747"/>
                  <a:gd name="T19" fmla="*/ 0 h 817"/>
                  <a:gd name="T20" fmla="*/ 0 w 1747"/>
                  <a:gd name="T21" fmla="*/ 0 h 8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747"/>
                  <a:gd name="T34" fmla="*/ 0 h 817"/>
                  <a:gd name="T35" fmla="*/ 1747 w 1747"/>
                  <a:gd name="T36" fmla="*/ 817 h 81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747" h="817">
                    <a:moveTo>
                      <a:pt x="0" y="0"/>
                    </a:moveTo>
                    <a:lnTo>
                      <a:pt x="32" y="62"/>
                    </a:lnTo>
                    <a:lnTo>
                      <a:pt x="724" y="292"/>
                    </a:lnTo>
                    <a:lnTo>
                      <a:pt x="1664" y="731"/>
                    </a:lnTo>
                    <a:lnTo>
                      <a:pt x="1601" y="817"/>
                    </a:lnTo>
                    <a:lnTo>
                      <a:pt x="1710" y="745"/>
                    </a:lnTo>
                    <a:lnTo>
                      <a:pt x="1747" y="723"/>
                    </a:lnTo>
                    <a:lnTo>
                      <a:pt x="1000" y="362"/>
                    </a:lnTo>
                    <a:lnTo>
                      <a:pt x="415" y="1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1" name="Group 341"/>
            <p:cNvGrpSpPr>
              <a:grpSpLocks/>
            </p:cNvGrpSpPr>
            <p:nvPr/>
          </p:nvGrpSpPr>
          <p:grpSpPr bwMode="auto">
            <a:xfrm>
              <a:off x="4806" y="1316"/>
              <a:ext cx="125" cy="230"/>
              <a:chOff x="4806" y="1316"/>
              <a:chExt cx="125" cy="230"/>
            </a:xfrm>
          </p:grpSpPr>
          <p:sp>
            <p:nvSpPr>
              <p:cNvPr id="206" name="Freeform 338"/>
              <p:cNvSpPr>
                <a:spLocks/>
              </p:cNvSpPr>
              <p:nvPr/>
            </p:nvSpPr>
            <p:spPr bwMode="auto">
              <a:xfrm>
                <a:off x="4868" y="1410"/>
                <a:ext cx="63" cy="120"/>
              </a:xfrm>
              <a:custGeom>
                <a:avLst/>
                <a:gdLst>
                  <a:gd name="T0" fmla="*/ 85 w 253"/>
                  <a:gd name="T1" fmla="*/ 20 h 481"/>
                  <a:gd name="T2" fmla="*/ 55 w 253"/>
                  <a:gd name="T3" fmla="*/ 0 h 481"/>
                  <a:gd name="T4" fmla="*/ 15 w 253"/>
                  <a:gd name="T5" fmla="*/ 0 h 481"/>
                  <a:gd name="T6" fmla="*/ 0 w 253"/>
                  <a:gd name="T7" fmla="*/ 26 h 481"/>
                  <a:gd name="T8" fmla="*/ 6 w 253"/>
                  <a:gd name="T9" fmla="*/ 65 h 481"/>
                  <a:gd name="T10" fmla="*/ 41 w 253"/>
                  <a:gd name="T11" fmla="*/ 104 h 481"/>
                  <a:gd name="T12" fmla="*/ 112 w 253"/>
                  <a:gd name="T13" fmla="*/ 139 h 481"/>
                  <a:gd name="T14" fmla="*/ 194 w 253"/>
                  <a:gd name="T15" fmla="*/ 213 h 481"/>
                  <a:gd name="T16" fmla="*/ 207 w 253"/>
                  <a:gd name="T17" fmla="*/ 245 h 481"/>
                  <a:gd name="T18" fmla="*/ 201 w 253"/>
                  <a:gd name="T19" fmla="*/ 261 h 481"/>
                  <a:gd name="T20" fmla="*/ 139 w 253"/>
                  <a:gd name="T21" fmla="*/ 310 h 481"/>
                  <a:gd name="T22" fmla="*/ 65 w 253"/>
                  <a:gd name="T23" fmla="*/ 369 h 481"/>
                  <a:gd name="T24" fmla="*/ 47 w 253"/>
                  <a:gd name="T25" fmla="*/ 394 h 481"/>
                  <a:gd name="T26" fmla="*/ 47 w 253"/>
                  <a:gd name="T27" fmla="*/ 421 h 481"/>
                  <a:gd name="T28" fmla="*/ 104 w 253"/>
                  <a:gd name="T29" fmla="*/ 448 h 481"/>
                  <a:gd name="T30" fmla="*/ 190 w 253"/>
                  <a:gd name="T31" fmla="*/ 481 h 481"/>
                  <a:gd name="T32" fmla="*/ 220 w 253"/>
                  <a:gd name="T33" fmla="*/ 481 h 481"/>
                  <a:gd name="T34" fmla="*/ 253 w 253"/>
                  <a:gd name="T35" fmla="*/ 459 h 481"/>
                  <a:gd name="T36" fmla="*/ 253 w 253"/>
                  <a:gd name="T37" fmla="*/ 442 h 481"/>
                  <a:gd name="T38" fmla="*/ 229 w 253"/>
                  <a:gd name="T39" fmla="*/ 433 h 481"/>
                  <a:gd name="T40" fmla="*/ 119 w 253"/>
                  <a:gd name="T41" fmla="*/ 421 h 481"/>
                  <a:gd name="T42" fmla="*/ 79 w 253"/>
                  <a:gd name="T43" fmla="*/ 410 h 481"/>
                  <a:gd name="T44" fmla="*/ 74 w 253"/>
                  <a:gd name="T45" fmla="*/ 391 h 481"/>
                  <a:gd name="T46" fmla="*/ 145 w 253"/>
                  <a:gd name="T47" fmla="*/ 337 h 481"/>
                  <a:gd name="T48" fmla="*/ 223 w 253"/>
                  <a:gd name="T49" fmla="*/ 285 h 481"/>
                  <a:gd name="T50" fmla="*/ 239 w 253"/>
                  <a:gd name="T51" fmla="*/ 266 h 481"/>
                  <a:gd name="T52" fmla="*/ 247 w 253"/>
                  <a:gd name="T53" fmla="*/ 239 h 481"/>
                  <a:gd name="T54" fmla="*/ 239 w 253"/>
                  <a:gd name="T55" fmla="*/ 203 h 481"/>
                  <a:gd name="T56" fmla="*/ 215 w 253"/>
                  <a:gd name="T57" fmla="*/ 175 h 481"/>
                  <a:gd name="T58" fmla="*/ 139 w 253"/>
                  <a:gd name="T59" fmla="*/ 80 h 481"/>
                  <a:gd name="T60" fmla="*/ 85 w 253"/>
                  <a:gd name="T61" fmla="*/ 20 h 481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53"/>
                  <a:gd name="T94" fmla="*/ 0 h 481"/>
                  <a:gd name="T95" fmla="*/ 253 w 253"/>
                  <a:gd name="T96" fmla="*/ 481 h 481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53" h="481">
                    <a:moveTo>
                      <a:pt x="85" y="20"/>
                    </a:moveTo>
                    <a:lnTo>
                      <a:pt x="55" y="0"/>
                    </a:lnTo>
                    <a:lnTo>
                      <a:pt x="15" y="0"/>
                    </a:lnTo>
                    <a:lnTo>
                      <a:pt x="0" y="26"/>
                    </a:lnTo>
                    <a:lnTo>
                      <a:pt x="6" y="65"/>
                    </a:lnTo>
                    <a:lnTo>
                      <a:pt x="41" y="104"/>
                    </a:lnTo>
                    <a:lnTo>
                      <a:pt x="112" y="139"/>
                    </a:lnTo>
                    <a:lnTo>
                      <a:pt x="194" y="213"/>
                    </a:lnTo>
                    <a:lnTo>
                      <a:pt x="207" y="245"/>
                    </a:lnTo>
                    <a:lnTo>
                      <a:pt x="201" y="261"/>
                    </a:lnTo>
                    <a:lnTo>
                      <a:pt x="139" y="310"/>
                    </a:lnTo>
                    <a:lnTo>
                      <a:pt x="65" y="369"/>
                    </a:lnTo>
                    <a:lnTo>
                      <a:pt x="47" y="394"/>
                    </a:lnTo>
                    <a:lnTo>
                      <a:pt x="47" y="421"/>
                    </a:lnTo>
                    <a:lnTo>
                      <a:pt x="104" y="448"/>
                    </a:lnTo>
                    <a:lnTo>
                      <a:pt x="190" y="481"/>
                    </a:lnTo>
                    <a:lnTo>
                      <a:pt x="220" y="481"/>
                    </a:lnTo>
                    <a:lnTo>
                      <a:pt x="253" y="459"/>
                    </a:lnTo>
                    <a:lnTo>
                      <a:pt x="253" y="442"/>
                    </a:lnTo>
                    <a:lnTo>
                      <a:pt x="229" y="433"/>
                    </a:lnTo>
                    <a:lnTo>
                      <a:pt x="119" y="421"/>
                    </a:lnTo>
                    <a:lnTo>
                      <a:pt x="79" y="410"/>
                    </a:lnTo>
                    <a:lnTo>
                      <a:pt x="74" y="391"/>
                    </a:lnTo>
                    <a:lnTo>
                      <a:pt x="145" y="337"/>
                    </a:lnTo>
                    <a:lnTo>
                      <a:pt x="223" y="285"/>
                    </a:lnTo>
                    <a:lnTo>
                      <a:pt x="239" y="266"/>
                    </a:lnTo>
                    <a:lnTo>
                      <a:pt x="247" y="239"/>
                    </a:lnTo>
                    <a:lnTo>
                      <a:pt x="239" y="203"/>
                    </a:lnTo>
                    <a:lnTo>
                      <a:pt x="215" y="175"/>
                    </a:lnTo>
                    <a:lnTo>
                      <a:pt x="139" y="80"/>
                    </a:lnTo>
                    <a:lnTo>
                      <a:pt x="85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7" name="Freeform 339"/>
              <p:cNvSpPr>
                <a:spLocks/>
              </p:cNvSpPr>
              <p:nvPr/>
            </p:nvSpPr>
            <p:spPr bwMode="auto">
              <a:xfrm>
                <a:off x="4835" y="1426"/>
                <a:ext cx="63" cy="120"/>
              </a:xfrm>
              <a:custGeom>
                <a:avLst/>
                <a:gdLst>
                  <a:gd name="T0" fmla="*/ 84 w 252"/>
                  <a:gd name="T1" fmla="*/ 20 h 480"/>
                  <a:gd name="T2" fmla="*/ 54 w 252"/>
                  <a:gd name="T3" fmla="*/ 0 h 480"/>
                  <a:gd name="T4" fmla="*/ 15 w 252"/>
                  <a:gd name="T5" fmla="*/ 0 h 480"/>
                  <a:gd name="T6" fmla="*/ 0 w 252"/>
                  <a:gd name="T7" fmla="*/ 26 h 480"/>
                  <a:gd name="T8" fmla="*/ 6 w 252"/>
                  <a:gd name="T9" fmla="*/ 65 h 480"/>
                  <a:gd name="T10" fmla="*/ 41 w 252"/>
                  <a:gd name="T11" fmla="*/ 104 h 480"/>
                  <a:gd name="T12" fmla="*/ 112 w 252"/>
                  <a:gd name="T13" fmla="*/ 138 h 480"/>
                  <a:gd name="T14" fmla="*/ 194 w 252"/>
                  <a:gd name="T15" fmla="*/ 213 h 480"/>
                  <a:gd name="T16" fmla="*/ 207 w 252"/>
                  <a:gd name="T17" fmla="*/ 245 h 480"/>
                  <a:gd name="T18" fmla="*/ 201 w 252"/>
                  <a:gd name="T19" fmla="*/ 261 h 480"/>
                  <a:gd name="T20" fmla="*/ 138 w 252"/>
                  <a:gd name="T21" fmla="*/ 310 h 480"/>
                  <a:gd name="T22" fmla="*/ 65 w 252"/>
                  <a:gd name="T23" fmla="*/ 369 h 480"/>
                  <a:gd name="T24" fmla="*/ 47 w 252"/>
                  <a:gd name="T25" fmla="*/ 394 h 480"/>
                  <a:gd name="T26" fmla="*/ 47 w 252"/>
                  <a:gd name="T27" fmla="*/ 420 h 480"/>
                  <a:gd name="T28" fmla="*/ 103 w 252"/>
                  <a:gd name="T29" fmla="*/ 448 h 480"/>
                  <a:gd name="T30" fmla="*/ 190 w 252"/>
                  <a:gd name="T31" fmla="*/ 480 h 480"/>
                  <a:gd name="T32" fmla="*/ 220 w 252"/>
                  <a:gd name="T33" fmla="*/ 480 h 480"/>
                  <a:gd name="T34" fmla="*/ 252 w 252"/>
                  <a:gd name="T35" fmla="*/ 459 h 480"/>
                  <a:gd name="T36" fmla="*/ 252 w 252"/>
                  <a:gd name="T37" fmla="*/ 442 h 480"/>
                  <a:gd name="T38" fmla="*/ 228 w 252"/>
                  <a:gd name="T39" fmla="*/ 432 h 480"/>
                  <a:gd name="T40" fmla="*/ 119 w 252"/>
                  <a:gd name="T41" fmla="*/ 420 h 480"/>
                  <a:gd name="T42" fmla="*/ 78 w 252"/>
                  <a:gd name="T43" fmla="*/ 410 h 480"/>
                  <a:gd name="T44" fmla="*/ 73 w 252"/>
                  <a:gd name="T45" fmla="*/ 390 h 480"/>
                  <a:gd name="T46" fmla="*/ 144 w 252"/>
                  <a:gd name="T47" fmla="*/ 336 h 480"/>
                  <a:gd name="T48" fmla="*/ 222 w 252"/>
                  <a:gd name="T49" fmla="*/ 285 h 480"/>
                  <a:gd name="T50" fmla="*/ 239 w 252"/>
                  <a:gd name="T51" fmla="*/ 266 h 480"/>
                  <a:gd name="T52" fmla="*/ 246 w 252"/>
                  <a:gd name="T53" fmla="*/ 239 h 480"/>
                  <a:gd name="T54" fmla="*/ 239 w 252"/>
                  <a:gd name="T55" fmla="*/ 203 h 480"/>
                  <a:gd name="T56" fmla="*/ 215 w 252"/>
                  <a:gd name="T57" fmla="*/ 174 h 480"/>
                  <a:gd name="T58" fmla="*/ 138 w 252"/>
                  <a:gd name="T59" fmla="*/ 80 h 480"/>
                  <a:gd name="T60" fmla="*/ 84 w 252"/>
                  <a:gd name="T61" fmla="*/ 20 h 4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52"/>
                  <a:gd name="T94" fmla="*/ 0 h 480"/>
                  <a:gd name="T95" fmla="*/ 252 w 252"/>
                  <a:gd name="T96" fmla="*/ 480 h 48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52" h="480">
                    <a:moveTo>
                      <a:pt x="84" y="20"/>
                    </a:moveTo>
                    <a:lnTo>
                      <a:pt x="54" y="0"/>
                    </a:lnTo>
                    <a:lnTo>
                      <a:pt x="15" y="0"/>
                    </a:lnTo>
                    <a:lnTo>
                      <a:pt x="0" y="26"/>
                    </a:lnTo>
                    <a:lnTo>
                      <a:pt x="6" y="65"/>
                    </a:lnTo>
                    <a:lnTo>
                      <a:pt x="41" y="104"/>
                    </a:lnTo>
                    <a:lnTo>
                      <a:pt x="112" y="138"/>
                    </a:lnTo>
                    <a:lnTo>
                      <a:pt x="194" y="213"/>
                    </a:lnTo>
                    <a:lnTo>
                      <a:pt x="207" y="245"/>
                    </a:lnTo>
                    <a:lnTo>
                      <a:pt x="201" y="261"/>
                    </a:lnTo>
                    <a:lnTo>
                      <a:pt x="138" y="310"/>
                    </a:lnTo>
                    <a:lnTo>
                      <a:pt x="65" y="369"/>
                    </a:lnTo>
                    <a:lnTo>
                      <a:pt x="47" y="394"/>
                    </a:lnTo>
                    <a:lnTo>
                      <a:pt x="47" y="420"/>
                    </a:lnTo>
                    <a:lnTo>
                      <a:pt x="103" y="448"/>
                    </a:lnTo>
                    <a:lnTo>
                      <a:pt x="190" y="480"/>
                    </a:lnTo>
                    <a:lnTo>
                      <a:pt x="220" y="480"/>
                    </a:lnTo>
                    <a:lnTo>
                      <a:pt x="252" y="459"/>
                    </a:lnTo>
                    <a:lnTo>
                      <a:pt x="252" y="442"/>
                    </a:lnTo>
                    <a:lnTo>
                      <a:pt x="228" y="432"/>
                    </a:lnTo>
                    <a:lnTo>
                      <a:pt x="119" y="420"/>
                    </a:lnTo>
                    <a:lnTo>
                      <a:pt x="78" y="410"/>
                    </a:lnTo>
                    <a:lnTo>
                      <a:pt x="73" y="390"/>
                    </a:lnTo>
                    <a:lnTo>
                      <a:pt x="144" y="336"/>
                    </a:lnTo>
                    <a:lnTo>
                      <a:pt x="222" y="285"/>
                    </a:lnTo>
                    <a:lnTo>
                      <a:pt x="239" y="266"/>
                    </a:lnTo>
                    <a:lnTo>
                      <a:pt x="246" y="239"/>
                    </a:lnTo>
                    <a:lnTo>
                      <a:pt x="239" y="203"/>
                    </a:lnTo>
                    <a:lnTo>
                      <a:pt x="215" y="174"/>
                    </a:lnTo>
                    <a:lnTo>
                      <a:pt x="138" y="80"/>
                    </a:lnTo>
                    <a:lnTo>
                      <a:pt x="84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8" name="Freeform 340"/>
              <p:cNvSpPr>
                <a:spLocks/>
              </p:cNvSpPr>
              <p:nvPr/>
            </p:nvSpPr>
            <p:spPr bwMode="auto">
              <a:xfrm>
                <a:off x="4806" y="1316"/>
                <a:ext cx="74" cy="115"/>
              </a:xfrm>
              <a:custGeom>
                <a:avLst/>
                <a:gdLst>
                  <a:gd name="T0" fmla="*/ 36 w 297"/>
                  <a:gd name="T1" fmla="*/ 147 h 458"/>
                  <a:gd name="T2" fmla="*/ 52 w 297"/>
                  <a:gd name="T3" fmla="*/ 62 h 458"/>
                  <a:gd name="T4" fmla="*/ 113 w 297"/>
                  <a:gd name="T5" fmla="*/ 7 h 458"/>
                  <a:gd name="T6" fmla="*/ 146 w 297"/>
                  <a:gd name="T7" fmla="*/ 0 h 458"/>
                  <a:gd name="T8" fmla="*/ 186 w 297"/>
                  <a:gd name="T9" fmla="*/ 9 h 458"/>
                  <a:gd name="T10" fmla="*/ 219 w 297"/>
                  <a:gd name="T11" fmla="*/ 41 h 458"/>
                  <a:gd name="T12" fmla="*/ 233 w 297"/>
                  <a:gd name="T13" fmla="*/ 79 h 458"/>
                  <a:gd name="T14" fmla="*/ 242 w 297"/>
                  <a:gd name="T15" fmla="*/ 110 h 458"/>
                  <a:gd name="T16" fmla="*/ 233 w 297"/>
                  <a:gd name="T17" fmla="*/ 152 h 458"/>
                  <a:gd name="T18" fmla="*/ 232 w 297"/>
                  <a:gd name="T19" fmla="*/ 188 h 458"/>
                  <a:gd name="T20" fmla="*/ 208 w 297"/>
                  <a:gd name="T21" fmla="*/ 222 h 458"/>
                  <a:gd name="T22" fmla="*/ 207 w 297"/>
                  <a:gd name="T23" fmla="*/ 261 h 458"/>
                  <a:gd name="T24" fmla="*/ 219 w 297"/>
                  <a:gd name="T25" fmla="*/ 289 h 458"/>
                  <a:gd name="T26" fmla="*/ 265 w 297"/>
                  <a:gd name="T27" fmla="*/ 299 h 458"/>
                  <a:gd name="T28" fmla="*/ 292 w 297"/>
                  <a:gd name="T29" fmla="*/ 330 h 458"/>
                  <a:gd name="T30" fmla="*/ 297 w 297"/>
                  <a:gd name="T31" fmla="*/ 395 h 458"/>
                  <a:gd name="T32" fmla="*/ 278 w 297"/>
                  <a:gd name="T33" fmla="*/ 434 h 458"/>
                  <a:gd name="T34" fmla="*/ 208 w 297"/>
                  <a:gd name="T35" fmla="*/ 455 h 458"/>
                  <a:gd name="T36" fmla="*/ 140 w 297"/>
                  <a:gd name="T37" fmla="*/ 458 h 458"/>
                  <a:gd name="T38" fmla="*/ 84 w 297"/>
                  <a:gd name="T39" fmla="*/ 438 h 458"/>
                  <a:gd name="T40" fmla="*/ 29 w 297"/>
                  <a:gd name="T41" fmla="*/ 386 h 458"/>
                  <a:gd name="T42" fmla="*/ 10 w 297"/>
                  <a:gd name="T43" fmla="*/ 336 h 458"/>
                  <a:gd name="T44" fmla="*/ 0 w 297"/>
                  <a:gd name="T45" fmla="*/ 275 h 458"/>
                  <a:gd name="T46" fmla="*/ 8 w 297"/>
                  <a:gd name="T47" fmla="*/ 209 h 458"/>
                  <a:gd name="T48" fmla="*/ 24 w 297"/>
                  <a:gd name="T49" fmla="*/ 169 h 458"/>
                  <a:gd name="T50" fmla="*/ 36 w 297"/>
                  <a:gd name="T51" fmla="*/ 147 h 45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97"/>
                  <a:gd name="T79" fmla="*/ 0 h 458"/>
                  <a:gd name="T80" fmla="*/ 297 w 297"/>
                  <a:gd name="T81" fmla="*/ 458 h 45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97" h="458">
                    <a:moveTo>
                      <a:pt x="36" y="147"/>
                    </a:moveTo>
                    <a:lnTo>
                      <a:pt x="52" y="62"/>
                    </a:lnTo>
                    <a:lnTo>
                      <a:pt x="113" y="7"/>
                    </a:lnTo>
                    <a:lnTo>
                      <a:pt x="146" y="0"/>
                    </a:lnTo>
                    <a:lnTo>
                      <a:pt x="186" y="9"/>
                    </a:lnTo>
                    <a:lnTo>
                      <a:pt x="219" y="41"/>
                    </a:lnTo>
                    <a:lnTo>
                      <a:pt x="233" y="79"/>
                    </a:lnTo>
                    <a:lnTo>
                      <a:pt x="242" y="110"/>
                    </a:lnTo>
                    <a:lnTo>
                      <a:pt x="233" y="152"/>
                    </a:lnTo>
                    <a:lnTo>
                      <a:pt x="232" y="188"/>
                    </a:lnTo>
                    <a:lnTo>
                      <a:pt x="208" y="222"/>
                    </a:lnTo>
                    <a:lnTo>
                      <a:pt x="207" y="261"/>
                    </a:lnTo>
                    <a:lnTo>
                      <a:pt x="219" y="289"/>
                    </a:lnTo>
                    <a:lnTo>
                      <a:pt x="265" y="299"/>
                    </a:lnTo>
                    <a:lnTo>
                      <a:pt x="292" y="330"/>
                    </a:lnTo>
                    <a:lnTo>
                      <a:pt x="297" y="395"/>
                    </a:lnTo>
                    <a:lnTo>
                      <a:pt x="278" y="434"/>
                    </a:lnTo>
                    <a:lnTo>
                      <a:pt x="208" y="455"/>
                    </a:lnTo>
                    <a:lnTo>
                      <a:pt x="140" y="458"/>
                    </a:lnTo>
                    <a:lnTo>
                      <a:pt x="84" y="438"/>
                    </a:lnTo>
                    <a:lnTo>
                      <a:pt x="29" y="386"/>
                    </a:lnTo>
                    <a:lnTo>
                      <a:pt x="10" y="336"/>
                    </a:lnTo>
                    <a:lnTo>
                      <a:pt x="0" y="275"/>
                    </a:lnTo>
                    <a:lnTo>
                      <a:pt x="8" y="209"/>
                    </a:lnTo>
                    <a:lnTo>
                      <a:pt x="24" y="169"/>
                    </a:lnTo>
                    <a:lnTo>
                      <a:pt x="36" y="14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2" name="Group 347"/>
            <p:cNvGrpSpPr>
              <a:grpSpLocks/>
            </p:cNvGrpSpPr>
            <p:nvPr/>
          </p:nvGrpSpPr>
          <p:grpSpPr bwMode="auto">
            <a:xfrm>
              <a:off x="4565" y="1301"/>
              <a:ext cx="607" cy="500"/>
              <a:chOff x="4565" y="1301"/>
              <a:chExt cx="607" cy="500"/>
            </a:xfrm>
          </p:grpSpPr>
          <p:grpSp>
            <p:nvGrpSpPr>
              <p:cNvPr id="33" name="Group 344"/>
              <p:cNvGrpSpPr>
                <a:grpSpLocks/>
              </p:cNvGrpSpPr>
              <p:nvPr/>
            </p:nvGrpSpPr>
            <p:grpSpPr bwMode="auto">
              <a:xfrm>
                <a:off x="4565" y="1301"/>
                <a:ext cx="607" cy="500"/>
                <a:chOff x="4565" y="1301"/>
                <a:chExt cx="607" cy="500"/>
              </a:xfrm>
            </p:grpSpPr>
            <p:sp>
              <p:nvSpPr>
                <p:cNvPr id="204" name="Freeform 342"/>
                <p:cNvSpPr>
                  <a:spLocks/>
                </p:cNvSpPr>
                <p:nvPr/>
              </p:nvSpPr>
              <p:spPr bwMode="auto">
                <a:xfrm>
                  <a:off x="4565" y="1301"/>
                  <a:ext cx="607" cy="500"/>
                </a:xfrm>
                <a:custGeom>
                  <a:avLst/>
                  <a:gdLst>
                    <a:gd name="T0" fmla="*/ 13 w 2428"/>
                    <a:gd name="T1" fmla="*/ 1272 h 2001"/>
                    <a:gd name="T2" fmla="*/ 32 w 2428"/>
                    <a:gd name="T3" fmla="*/ 1033 h 2001"/>
                    <a:gd name="T4" fmla="*/ 0 w 2428"/>
                    <a:gd name="T5" fmla="*/ 781 h 2001"/>
                    <a:gd name="T6" fmla="*/ 32 w 2428"/>
                    <a:gd name="T7" fmla="*/ 594 h 2001"/>
                    <a:gd name="T8" fmla="*/ 193 w 2428"/>
                    <a:gd name="T9" fmla="*/ 477 h 2001"/>
                    <a:gd name="T10" fmla="*/ 619 w 2428"/>
                    <a:gd name="T11" fmla="*/ 355 h 2001"/>
                    <a:gd name="T12" fmla="*/ 962 w 2428"/>
                    <a:gd name="T13" fmla="*/ 316 h 2001"/>
                    <a:gd name="T14" fmla="*/ 1240 w 2428"/>
                    <a:gd name="T15" fmla="*/ 238 h 2001"/>
                    <a:gd name="T16" fmla="*/ 1407 w 2428"/>
                    <a:gd name="T17" fmla="*/ 181 h 2001"/>
                    <a:gd name="T18" fmla="*/ 1582 w 2428"/>
                    <a:gd name="T19" fmla="*/ 58 h 2001"/>
                    <a:gd name="T20" fmla="*/ 1801 w 2428"/>
                    <a:gd name="T21" fmla="*/ 0 h 2001"/>
                    <a:gd name="T22" fmla="*/ 1911 w 2428"/>
                    <a:gd name="T23" fmla="*/ 52 h 2001"/>
                    <a:gd name="T24" fmla="*/ 2246 w 2428"/>
                    <a:gd name="T25" fmla="*/ 362 h 2001"/>
                    <a:gd name="T26" fmla="*/ 2428 w 2428"/>
                    <a:gd name="T27" fmla="*/ 549 h 2001"/>
                    <a:gd name="T28" fmla="*/ 2401 w 2428"/>
                    <a:gd name="T29" fmla="*/ 645 h 2001"/>
                    <a:gd name="T30" fmla="*/ 2376 w 2428"/>
                    <a:gd name="T31" fmla="*/ 943 h 2001"/>
                    <a:gd name="T32" fmla="*/ 2344 w 2428"/>
                    <a:gd name="T33" fmla="*/ 1234 h 2001"/>
                    <a:gd name="T34" fmla="*/ 2254 w 2428"/>
                    <a:gd name="T35" fmla="*/ 1343 h 2001"/>
                    <a:gd name="T36" fmla="*/ 2240 w 2428"/>
                    <a:gd name="T37" fmla="*/ 1272 h 2001"/>
                    <a:gd name="T38" fmla="*/ 2105 w 2428"/>
                    <a:gd name="T39" fmla="*/ 1226 h 2001"/>
                    <a:gd name="T40" fmla="*/ 1911 w 2428"/>
                    <a:gd name="T41" fmla="*/ 1297 h 2001"/>
                    <a:gd name="T42" fmla="*/ 1724 w 2428"/>
                    <a:gd name="T43" fmla="*/ 1408 h 2001"/>
                    <a:gd name="T44" fmla="*/ 1478 w 2428"/>
                    <a:gd name="T45" fmla="*/ 1530 h 2001"/>
                    <a:gd name="T46" fmla="*/ 1240 w 2428"/>
                    <a:gd name="T47" fmla="*/ 1627 h 2001"/>
                    <a:gd name="T48" fmla="*/ 962 w 2428"/>
                    <a:gd name="T49" fmla="*/ 1691 h 2001"/>
                    <a:gd name="T50" fmla="*/ 768 w 2428"/>
                    <a:gd name="T51" fmla="*/ 1756 h 2001"/>
                    <a:gd name="T52" fmla="*/ 736 w 2428"/>
                    <a:gd name="T53" fmla="*/ 1918 h 2001"/>
                    <a:gd name="T54" fmla="*/ 659 w 2428"/>
                    <a:gd name="T55" fmla="*/ 2001 h 2001"/>
                    <a:gd name="T56" fmla="*/ 542 w 2428"/>
                    <a:gd name="T57" fmla="*/ 1872 h 2001"/>
                    <a:gd name="T58" fmla="*/ 554 w 2428"/>
                    <a:gd name="T59" fmla="*/ 1769 h 2001"/>
                    <a:gd name="T60" fmla="*/ 258 w 2428"/>
                    <a:gd name="T61" fmla="*/ 1472 h 2001"/>
                    <a:gd name="T62" fmla="*/ 103 w 2428"/>
                    <a:gd name="T63" fmla="*/ 1343 h 2001"/>
                    <a:gd name="T64" fmla="*/ 103 w 2428"/>
                    <a:gd name="T65" fmla="*/ 1472 h 200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428"/>
                    <a:gd name="T100" fmla="*/ 0 h 2001"/>
                    <a:gd name="T101" fmla="*/ 2428 w 2428"/>
                    <a:gd name="T102" fmla="*/ 2001 h 200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428" h="2001">
                      <a:moveTo>
                        <a:pt x="19" y="1414"/>
                      </a:moveTo>
                      <a:lnTo>
                        <a:pt x="13" y="1272"/>
                      </a:lnTo>
                      <a:lnTo>
                        <a:pt x="32" y="1150"/>
                      </a:lnTo>
                      <a:lnTo>
                        <a:pt x="32" y="1033"/>
                      </a:lnTo>
                      <a:lnTo>
                        <a:pt x="6" y="891"/>
                      </a:lnTo>
                      <a:lnTo>
                        <a:pt x="0" y="781"/>
                      </a:lnTo>
                      <a:lnTo>
                        <a:pt x="6" y="665"/>
                      </a:lnTo>
                      <a:lnTo>
                        <a:pt x="32" y="594"/>
                      </a:lnTo>
                      <a:lnTo>
                        <a:pt x="103" y="542"/>
                      </a:lnTo>
                      <a:lnTo>
                        <a:pt x="193" y="477"/>
                      </a:lnTo>
                      <a:lnTo>
                        <a:pt x="407" y="406"/>
                      </a:lnTo>
                      <a:lnTo>
                        <a:pt x="619" y="355"/>
                      </a:lnTo>
                      <a:lnTo>
                        <a:pt x="807" y="322"/>
                      </a:lnTo>
                      <a:lnTo>
                        <a:pt x="962" y="316"/>
                      </a:lnTo>
                      <a:lnTo>
                        <a:pt x="1110" y="271"/>
                      </a:lnTo>
                      <a:lnTo>
                        <a:pt x="1240" y="238"/>
                      </a:lnTo>
                      <a:lnTo>
                        <a:pt x="1304" y="213"/>
                      </a:lnTo>
                      <a:lnTo>
                        <a:pt x="1407" y="181"/>
                      </a:lnTo>
                      <a:lnTo>
                        <a:pt x="1498" y="135"/>
                      </a:lnTo>
                      <a:lnTo>
                        <a:pt x="1582" y="58"/>
                      </a:lnTo>
                      <a:lnTo>
                        <a:pt x="1678" y="32"/>
                      </a:lnTo>
                      <a:lnTo>
                        <a:pt x="1801" y="0"/>
                      </a:lnTo>
                      <a:lnTo>
                        <a:pt x="1860" y="7"/>
                      </a:lnTo>
                      <a:lnTo>
                        <a:pt x="1911" y="52"/>
                      </a:lnTo>
                      <a:lnTo>
                        <a:pt x="2066" y="181"/>
                      </a:lnTo>
                      <a:lnTo>
                        <a:pt x="2246" y="362"/>
                      </a:lnTo>
                      <a:lnTo>
                        <a:pt x="2370" y="471"/>
                      </a:lnTo>
                      <a:lnTo>
                        <a:pt x="2428" y="549"/>
                      </a:lnTo>
                      <a:lnTo>
                        <a:pt x="2428" y="601"/>
                      </a:lnTo>
                      <a:lnTo>
                        <a:pt x="2401" y="645"/>
                      </a:lnTo>
                      <a:lnTo>
                        <a:pt x="2376" y="729"/>
                      </a:lnTo>
                      <a:lnTo>
                        <a:pt x="2376" y="943"/>
                      </a:lnTo>
                      <a:lnTo>
                        <a:pt x="2363" y="1110"/>
                      </a:lnTo>
                      <a:lnTo>
                        <a:pt x="2344" y="1234"/>
                      </a:lnTo>
                      <a:lnTo>
                        <a:pt x="2311" y="1324"/>
                      </a:lnTo>
                      <a:lnTo>
                        <a:pt x="2254" y="1343"/>
                      </a:lnTo>
                      <a:lnTo>
                        <a:pt x="2227" y="1316"/>
                      </a:lnTo>
                      <a:lnTo>
                        <a:pt x="2240" y="1272"/>
                      </a:lnTo>
                      <a:lnTo>
                        <a:pt x="2246" y="1162"/>
                      </a:lnTo>
                      <a:lnTo>
                        <a:pt x="2105" y="1226"/>
                      </a:lnTo>
                      <a:lnTo>
                        <a:pt x="2021" y="1272"/>
                      </a:lnTo>
                      <a:lnTo>
                        <a:pt x="1911" y="1297"/>
                      </a:lnTo>
                      <a:lnTo>
                        <a:pt x="1827" y="1337"/>
                      </a:lnTo>
                      <a:lnTo>
                        <a:pt x="1724" y="1408"/>
                      </a:lnTo>
                      <a:lnTo>
                        <a:pt x="1627" y="1459"/>
                      </a:lnTo>
                      <a:lnTo>
                        <a:pt x="1478" y="1530"/>
                      </a:lnTo>
                      <a:lnTo>
                        <a:pt x="1382" y="1562"/>
                      </a:lnTo>
                      <a:lnTo>
                        <a:pt x="1240" y="1627"/>
                      </a:lnTo>
                      <a:lnTo>
                        <a:pt x="1078" y="1659"/>
                      </a:lnTo>
                      <a:lnTo>
                        <a:pt x="962" y="1691"/>
                      </a:lnTo>
                      <a:lnTo>
                        <a:pt x="833" y="1723"/>
                      </a:lnTo>
                      <a:lnTo>
                        <a:pt x="768" y="1756"/>
                      </a:lnTo>
                      <a:lnTo>
                        <a:pt x="742" y="1821"/>
                      </a:lnTo>
                      <a:lnTo>
                        <a:pt x="736" y="1918"/>
                      </a:lnTo>
                      <a:lnTo>
                        <a:pt x="717" y="1969"/>
                      </a:lnTo>
                      <a:lnTo>
                        <a:pt x="659" y="2001"/>
                      </a:lnTo>
                      <a:lnTo>
                        <a:pt x="568" y="1949"/>
                      </a:lnTo>
                      <a:lnTo>
                        <a:pt x="542" y="1872"/>
                      </a:lnTo>
                      <a:lnTo>
                        <a:pt x="575" y="1807"/>
                      </a:lnTo>
                      <a:lnTo>
                        <a:pt x="554" y="1769"/>
                      </a:lnTo>
                      <a:lnTo>
                        <a:pt x="432" y="1633"/>
                      </a:lnTo>
                      <a:lnTo>
                        <a:pt x="258" y="1472"/>
                      </a:lnTo>
                      <a:lnTo>
                        <a:pt x="148" y="1369"/>
                      </a:lnTo>
                      <a:lnTo>
                        <a:pt x="103" y="1343"/>
                      </a:lnTo>
                      <a:lnTo>
                        <a:pt x="84" y="1388"/>
                      </a:lnTo>
                      <a:lnTo>
                        <a:pt x="103" y="1472"/>
                      </a:lnTo>
                      <a:lnTo>
                        <a:pt x="19" y="1414"/>
                      </a:lnTo>
                      <a:close/>
                    </a:path>
                  </a:pathLst>
                </a:custGeom>
                <a:solidFill>
                  <a:srgbClr val="996633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5" name="Freeform 343"/>
                <p:cNvSpPr>
                  <a:spLocks/>
                </p:cNvSpPr>
                <p:nvPr/>
              </p:nvSpPr>
              <p:spPr bwMode="auto">
                <a:xfrm>
                  <a:off x="4573" y="1447"/>
                  <a:ext cx="596" cy="353"/>
                </a:xfrm>
                <a:custGeom>
                  <a:avLst/>
                  <a:gdLst>
                    <a:gd name="T0" fmla="*/ 607 w 2383"/>
                    <a:gd name="T1" fmla="*/ 1388 h 1414"/>
                    <a:gd name="T2" fmla="*/ 614 w 2383"/>
                    <a:gd name="T3" fmla="*/ 1252 h 1414"/>
                    <a:gd name="T4" fmla="*/ 607 w 2383"/>
                    <a:gd name="T5" fmla="*/ 955 h 1414"/>
                    <a:gd name="T6" fmla="*/ 607 w 2383"/>
                    <a:gd name="T7" fmla="*/ 736 h 1414"/>
                    <a:gd name="T8" fmla="*/ 574 w 2383"/>
                    <a:gd name="T9" fmla="*/ 678 h 1414"/>
                    <a:gd name="T10" fmla="*/ 335 w 2383"/>
                    <a:gd name="T11" fmla="*/ 426 h 1414"/>
                    <a:gd name="T12" fmla="*/ 180 w 2383"/>
                    <a:gd name="T13" fmla="*/ 271 h 1414"/>
                    <a:gd name="T14" fmla="*/ 52 w 2383"/>
                    <a:gd name="T15" fmla="*/ 161 h 1414"/>
                    <a:gd name="T16" fmla="*/ 0 w 2383"/>
                    <a:gd name="T17" fmla="*/ 103 h 1414"/>
                    <a:gd name="T18" fmla="*/ 13 w 2383"/>
                    <a:gd name="T19" fmla="*/ 71 h 1414"/>
                    <a:gd name="T20" fmla="*/ 33 w 2383"/>
                    <a:gd name="T21" fmla="*/ 71 h 1414"/>
                    <a:gd name="T22" fmla="*/ 123 w 2383"/>
                    <a:gd name="T23" fmla="*/ 168 h 1414"/>
                    <a:gd name="T24" fmla="*/ 245 w 2383"/>
                    <a:gd name="T25" fmla="*/ 264 h 1414"/>
                    <a:gd name="T26" fmla="*/ 362 w 2383"/>
                    <a:gd name="T27" fmla="*/ 420 h 1414"/>
                    <a:gd name="T28" fmla="*/ 471 w 2383"/>
                    <a:gd name="T29" fmla="*/ 535 h 1414"/>
                    <a:gd name="T30" fmla="*/ 574 w 2383"/>
                    <a:gd name="T31" fmla="*/ 613 h 1414"/>
                    <a:gd name="T32" fmla="*/ 639 w 2383"/>
                    <a:gd name="T33" fmla="*/ 671 h 1414"/>
                    <a:gd name="T34" fmla="*/ 685 w 2383"/>
                    <a:gd name="T35" fmla="*/ 659 h 1414"/>
                    <a:gd name="T36" fmla="*/ 729 w 2383"/>
                    <a:gd name="T37" fmla="*/ 627 h 1414"/>
                    <a:gd name="T38" fmla="*/ 872 w 2383"/>
                    <a:gd name="T39" fmla="*/ 594 h 1414"/>
                    <a:gd name="T40" fmla="*/ 1130 w 2383"/>
                    <a:gd name="T41" fmla="*/ 523 h 1414"/>
                    <a:gd name="T42" fmla="*/ 1285 w 2383"/>
                    <a:gd name="T43" fmla="*/ 439 h 1414"/>
                    <a:gd name="T44" fmla="*/ 1465 w 2383"/>
                    <a:gd name="T45" fmla="*/ 361 h 1414"/>
                    <a:gd name="T46" fmla="*/ 1653 w 2383"/>
                    <a:gd name="T47" fmla="*/ 290 h 1414"/>
                    <a:gd name="T48" fmla="*/ 1847 w 2383"/>
                    <a:gd name="T49" fmla="*/ 206 h 1414"/>
                    <a:gd name="T50" fmla="*/ 1983 w 2383"/>
                    <a:gd name="T51" fmla="*/ 161 h 1414"/>
                    <a:gd name="T52" fmla="*/ 2144 w 2383"/>
                    <a:gd name="T53" fmla="*/ 90 h 1414"/>
                    <a:gd name="T54" fmla="*/ 2272 w 2383"/>
                    <a:gd name="T55" fmla="*/ 58 h 1414"/>
                    <a:gd name="T56" fmla="*/ 2383 w 2383"/>
                    <a:gd name="T57" fmla="*/ 0 h 1414"/>
                    <a:gd name="T58" fmla="*/ 2344 w 2383"/>
                    <a:gd name="T59" fmla="*/ 103 h 1414"/>
                    <a:gd name="T60" fmla="*/ 2280 w 2383"/>
                    <a:gd name="T61" fmla="*/ 103 h 1414"/>
                    <a:gd name="T62" fmla="*/ 2195 w 2383"/>
                    <a:gd name="T63" fmla="*/ 122 h 1414"/>
                    <a:gd name="T64" fmla="*/ 2047 w 2383"/>
                    <a:gd name="T65" fmla="*/ 168 h 1414"/>
                    <a:gd name="T66" fmla="*/ 1937 w 2383"/>
                    <a:gd name="T67" fmla="*/ 212 h 1414"/>
                    <a:gd name="T68" fmla="*/ 1802 w 2383"/>
                    <a:gd name="T69" fmla="*/ 258 h 1414"/>
                    <a:gd name="T70" fmla="*/ 1711 w 2383"/>
                    <a:gd name="T71" fmla="*/ 304 h 1414"/>
                    <a:gd name="T72" fmla="*/ 1563 w 2383"/>
                    <a:gd name="T73" fmla="*/ 361 h 1414"/>
                    <a:gd name="T74" fmla="*/ 1465 w 2383"/>
                    <a:gd name="T75" fmla="*/ 361 h 1414"/>
                    <a:gd name="T76" fmla="*/ 1324 w 2383"/>
                    <a:gd name="T77" fmla="*/ 465 h 1414"/>
                    <a:gd name="T78" fmla="*/ 1226 w 2383"/>
                    <a:gd name="T79" fmla="*/ 510 h 1414"/>
                    <a:gd name="T80" fmla="*/ 1104 w 2383"/>
                    <a:gd name="T81" fmla="*/ 555 h 1414"/>
                    <a:gd name="T82" fmla="*/ 949 w 2383"/>
                    <a:gd name="T83" fmla="*/ 607 h 1414"/>
                    <a:gd name="T84" fmla="*/ 826 w 2383"/>
                    <a:gd name="T85" fmla="*/ 639 h 1414"/>
                    <a:gd name="T86" fmla="*/ 742 w 2383"/>
                    <a:gd name="T87" fmla="*/ 678 h 1414"/>
                    <a:gd name="T88" fmla="*/ 666 w 2383"/>
                    <a:gd name="T89" fmla="*/ 717 h 1414"/>
                    <a:gd name="T90" fmla="*/ 646 w 2383"/>
                    <a:gd name="T91" fmla="*/ 820 h 1414"/>
                    <a:gd name="T92" fmla="*/ 646 w 2383"/>
                    <a:gd name="T93" fmla="*/ 1065 h 1414"/>
                    <a:gd name="T94" fmla="*/ 646 w 2383"/>
                    <a:gd name="T95" fmla="*/ 1233 h 1414"/>
                    <a:gd name="T96" fmla="*/ 658 w 2383"/>
                    <a:gd name="T97" fmla="*/ 1376 h 1414"/>
                    <a:gd name="T98" fmla="*/ 620 w 2383"/>
                    <a:gd name="T99" fmla="*/ 1414 h 1414"/>
                    <a:gd name="T100" fmla="*/ 607 w 2383"/>
                    <a:gd name="T101" fmla="*/ 1388 h 141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383"/>
                    <a:gd name="T154" fmla="*/ 0 h 1414"/>
                    <a:gd name="T155" fmla="*/ 2383 w 2383"/>
                    <a:gd name="T156" fmla="*/ 1414 h 141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383" h="1414">
                      <a:moveTo>
                        <a:pt x="607" y="1388"/>
                      </a:moveTo>
                      <a:lnTo>
                        <a:pt x="614" y="1252"/>
                      </a:lnTo>
                      <a:lnTo>
                        <a:pt x="607" y="955"/>
                      </a:lnTo>
                      <a:lnTo>
                        <a:pt x="607" y="736"/>
                      </a:lnTo>
                      <a:lnTo>
                        <a:pt x="574" y="678"/>
                      </a:lnTo>
                      <a:lnTo>
                        <a:pt x="335" y="426"/>
                      </a:lnTo>
                      <a:lnTo>
                        <a:pt x="180" y="271"/>
                      </a:lnTo>
                      <a:lnTo>
                        <a:pt x="52" y="161"/>
                      </a:lnTo>
                      <a:lnTo>
                        <a:pt x="0" y="103"/>
                      </a:lnTo>
                      <a:lnTo>
                        <a:pt x="13" y="71"/>
                      </a:lnTo>
                      <a:lnTo>
                        <a:pt x="33" y="71"/>
                      </a:lnTo>
                      <a:lnTo>
                        <a:pt x="123" y="168"/>
                      </a:lnTo>
                      <a:lnTo>
                        <a:pt x="245" y="264"/>
                      </a:lnTo>
                      <a:lnTo>
                        <a:pt x="362" y="420"/>
                      </a:lnTo>
                      <a:lnTo>
                        <a:pt x="471" y="535"/>
                      </a:lnTo>
                      <a:lnTo>
                        <a:pt x="574" y="613"/>
                      </a:lnTo>
                      <a:lnTo>
                        <a:pt x="639" y="671"/>
                      </a:lnTo>
                      <a:lnTo>
                        <a:pt x="685" y="659"/>
                      </a:lnTo>
                      <a:lnTo>
                        <a:pt x="729" y="627"/>
                      </a:lnTo>
                      <a:lnTo>
                        <a:pt x="872" y="594"/>
                      </a:lnTo>
                      <a:lnTo>
                        <a:pt x="1130" y="523"/>
                      </a:lnTo>
                      <a:lnTo>
                        <a:pt x="1285" y="439"/>
                      </a:lnTo>
                      <a:lnTo>
                        <a:pt x="1465" y="361"/>
                      </a:lnTo>
                      <a:lnTo>
                        <a:pt x="1653" y="290"/>
                      </a:lnTo>
                      <a:lnTo>
                        <a:pt x="1847" y="206"/>
                      </a:lnTo>
                      <a:lnTo>
                        <a:pt x="1983" y="161"/>
                      </a:lnTo>
                      <a:lnTo>
                        <a:pt x="2144" y="90"/>
                      </a:lnTo>
                      <a:lnTo>
                        <a:pt x="2272" y="58"/>
                      </a:lnTo>
                      <a:lnTo>
                        <a:pt x="2383" y="0"/>
                      </a:lnTo>
                      <a:lnTo>
                        <a:pt x="2344" y="103"/>
                      </a:lnTo>
                      <a:lnTo>
                        <a:pt x="2280" y="103"/>
                      </a:lnTo>
                      <a:lnTo>
                        <a:pt x="2195" y="122"/>
                      </a:lnTo>
                      <a:lnTo>
                        <a:pt x="2047" y="168"/>
                      </a:lnTo>
                      <a:lnTo>
                        <a:pt x="1937" y="212"/>
                      </a:lnTo>
                      <a:lnTo>
                        <a:pt x="1802" y="258"/>
                      </a:lnTo>
                      <a:lnTo>
                        <a:pt x="1711" y="304"/>
                      </a:lnTo>
                      <a:lnTo>
                        <a:pt x="1563" y="361"/>
                      </a:lnTo>
                      <a:lnTo>
                        <a:pt x="1465" y="361"/>
                      </a:lnTo>
                      <a:lnTo>
                        <a:pt x="1324" y="465"/>
                      </a:lnTo>
                      <a:lnTo>
                        <a:pt x="1226" y="510"/>
                      </a:lnTo>
                      <a:lnTo>
                        <a:pt x="1104" y="555"/>
                      </a:lnTo>
                      <a:lnTo>
                        <a:pt x="949" y="607"/>
                      </a:lnTo>
                      <a:lnTo>
                        <a:pt x="826" y="639"/>
                      </a:lnTo>
                      <a:lnTo>
                        <a:pt x="742" y="678"/>
                      </a:lnTo>
                      <a:lnTo>
                        <a:pt x="666" y="717"/>
                      </a:lnTo>
                      <a:lnTo>
                        <a:pt x="646" y="820"/>
                      </a:lnTo>
                      <a:lnTo>
                        <a:pt x="646" y="1065"/>
                      </a:lnTo>
                      <a:lnTo>
                        <a:pt x="646" y="1233"/>
                      </a:lnTo>
                      <a:lnTo>
                        <a:pt x="658" y="1376"/>
                      </a:lnTo>
                      <a:lnTo>
                        <a:pt x="620" y="1414"/>
                      </a:lnTo>
                      <a:lnTo>
                        <a:pt x="607" y="138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202" name="Freeform 345"/>
              <p:cNvSpPr>
                <a:spLocks/>
              </p:cNvSpPr>
              <p:nvPr/>
            </p:nvSpPr>
            <p:spPr bwMode="auto">
              <a:xfrm>
                <a:off x="4817" y="1382"/>
                <a:ext cx="143" cy="100"/>
              </a:xfrm>
              <a:custGeom>
                <a:avLst/>
                <a:gdLst>
                  <a:gd name="T0" fmla="*/ 7 w 575"/>
                  <a:gd name="T1" fmla="*/ 117 h 400"/>
                  <a:gd name="T2" fmla="*/ 149 w 575"/>
                  <a:gd name="T3" fmla="*/ 84 h 400"/>
                  <a:gd name="T4" fmla="*/ 233 w 575"/>
                  <a:gd name="T5" fmla="*/ 46 h 400"/>
                  <a:gd name="T6" fmla="*/ 292 w 575"/>
                  <a:gd name="T7" fmla="*/ 0 h 400"/>
                  <a:gd name="T8" fmla="*/ 350 w 575"/>
                  <a:gd name="T9" fmla="*/ 59 h 400"/>
                  <a:gd name="T10" fmla="*/ 440 w 575"/>
                  <a:gd name="T11" fmla="*/ 143 h 400"/>
                  <a:gd name="T12" fmla="*/ 518 w 575"/>
                  <a:gd name="T13" fmla="*/ 188 h 400"/>
                  <a:gd name="T14" fmla="*/ 575 w 575"/>
                  <a:gd name="T15" fmla="*/ 247 h 400"/>
                  <a:gd name="T16" fmla="*/ 543 w 575"/>
                  <a:gd name="T17" fmla="*/ 298 h 400"/>
                  <a:gd name="T18" fmla="*/ 428 w 575"/>
                  <a:gd name="T19" fmla="*/ 350 h 400"/>
                  <a:gd name="T20" fmla="*/ 311 w 575"/>
                  <a:gd name="T21" fmla="*/ 400 h 400"/>
                  <a:gd name="T22" fmla="*/ 260 w 575"/>
                  <a:gd name="T23" fmla="*/ 400 h 400"/>
                  <a:gd name="T24" fmla="*/ 187 w 575"/>
                  <a:gd name="T25" fmla="*/ 310 h 400"/>
                  <a:gd name="T26" fmla="*/ 117 w 575"/>
                  <a:gd name="T27" fmla="*/ 253 h 400"/>
                  <a:gd name="T28" fmla="*/ 46 w 575"/>
                  <a:gd name="T29" fmla="*/ 214 h 400"/>
                  <a:gd name="T30" fmla="*/ 0 w 575"/>
                  <a:gd name="T31" fmla="*/ 149 h 400"/>
                  <a:gd name="T32" fmla="*/ 7 w 575"/>
                  <a:gd name="T33" fmla="*/ 117 h 40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75"/>
                  <a:gd name="T52" fmla="*/ 0 h 400"/>
                  <a:gd name="T53" fmla="*/ 575 w 575"/>
                  <a:gd name="T54" fmla="*/ 400 h 40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75" h="400">
                    <a:moveTo>
                      <a:pt x="7" y="117"/>
                    </a:moveTo>
                    <a:lnTo>
                      <a:pt x="149" y="84"/>
                    </a:lnTo>
                    <a:lnTo>
                      <a:pt x="233" y="46"/>
                    </a:lnTo>
                    <a:lnTo>
                      <a:pt x="292" y="0"/>
                    </a:lnTo>
                    <a:lnTo>
                      <a:pt x="350" y="59"/>
                    </a:lnTo>
                    <a:lnTo>
                      <a:pt x="440" y="143"/>
                    </a:lnTo>
                    <a:lnTo>
                      <a:pt x="518" y="188"/>
                    </a:lnTo>
                    <a:lnTo>
                      <a:pt x="575" y="247"/>
                    </a:lnTo>
                    <a:lnTo>
                      <a:pt x="543" y="298"/>
                    </a:lnTo>
                    <a:lnTo>
                      <a:pt x="428" y="350"/>
                    </a:lnTo>
                    <a:lnTo>
                      <a:pt x="311" y="400"/>
                    </a:lnTo>
                    <a:lnTo>
                      <a:pt x="260" y="400"/>
                    </a:lnTo>
                    <a:lnTo>
                      <a:pt x="187" y="310"/>
                    </a:lnTo>
                    <a:lnTo>
                      <a:pt x="117" y="253"/>
                    </a:lnTo>
                    <a:lnTo>
                      <a:pt x="46" y="214"/>
                    </a:lnTo>
                    <a:lnTo>
                      <a:pt x="0" y="149"/>
                    </a:lnTo>
                    <a:lnTo>
                      <a:pt x="7" y="117"/>
                    </a:lnTo>
                    <a:close/>
                  </a:path>
                </a:pathLst>
              </a:custGeom>
              <a:solidFill>
                <a:srgbClr val="F8F8F8"/>
              </a:solidFill>
              <a:ln w="317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3" name="Freeform 346"/>
              <p:cNvSpPr>
                <a:spLocks/>
              </p:cNvSpPr>
              <p:nvPr/>
            </p:nvSpPr>
            <p:spPr bwMode="auto">
              <a:xfrm>
                <a:off x="4844" y="1382"/>
                <a:ext cx="31" cy="50"/>
              </a:xfrm>
              <a:custGeom>
                <a:avLst/>
                <a:gdLst>
                  <a:gd name="T0" fmla="*/ 118 w 124"/>
                  <a:gd name="T1" fmla="*/ 168 h 200"/>
                  <a:gd name="T2" fmla="*/ 21 w 124"/>
                  <a:gd name="T3" fmla="*/ 0 h 200"/>
                  <a:gd name="T4" fmla="*/ 0 w 124"/>
                  <a:gd name="T5" fmla="*/ 13 h 200"/>
                  <a:gd name="T6" fmla="*/ 8 w 124"/>
                  <a:gd name="T7" fmla="*/ 32 h 200"/>
                  <a:gd name="T8" fmla="*/ 99 w 124"/>
                  <a:gd name="T9" fmla="*/ 194 h 200"/>
                  <a:gd name="T10" fmla="*/ 124 w 124"/>
                  <a:gd name="T11" fmla="*/ 200 h 200"/>
                  <a:gd name="T12" fmla="*/ 118 w 124"/>
                  <a:gd name="T13" fmla="*/ 168 h 20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4"/>
                  <a:gd name="T22" fmla="*/ 0 h 200"/>
                  <a:gd name="T23" fmla="*/ 124 w 124"/>
                  <a:gd name="T24" fmla="*/ 200 h 20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4" h="200">
                    <a:moveTo>
                      <a:pt x="118" y="168"/>
                    </a:moveTo>
                    <a:lnTo>
                      <a:pt x="21" y="0"/>
                    </a:lnTo>
                    <a:lnTo>
                      <a:pt x="0" y="13"/>
                    </a:lnTo>
                    <a:lnTo>
                      <a:pt x="8" y="32"/>
                    </a:lnTo>
                    <a:lnTo>
                      <a:pt x="99" y="194"/>
                    </a:lnTo>
                    <a:lnTo>
                      <a:pt x="124" y="200"/>
                    </a:lnTo>
                    <a:lnTo>
                      <a:pt x="118" y="16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4" name="Group 351"/>
            <p:cNvGrpSpPr>
              <a:grpSpLocks/>
            </p:cNvGrpSpPr>
            <p:nvPr/>
          </p:nvGrpSpPr>
          <p:grpSpPr bwMode="auto">
            <a:xfrm>
              <a:off x="4775" y="1233"/>
              <a:ext cx="142" cy="216"/>
              <a:chOff x="4775" y="1233"/>
              <a:chExt cx="142" cy="216"/>
            </a:xfrm>
          </p:grpSpPr>
          <p:sp>
            <p:nvSpPr>
              <p:cNvPr id="198" name="Freeform 348"/>
              <p:cNvSpPr>
                <a:spLocks/>
              </p:cNvSpPr>
              <p:nvPr/>
            </p:nvSpPr>
            <p:spPr bwMode="auto">
              <a:xfrm>
                <a:off x="4824" y="1233"/>
                <a:ext cx="64" cy="87"/>
              </a:xfrm>
              <a:custGeom>
                <a:avLst/>
                <a:gdLst>
                  <a:gd name="T0" fmla="*/ 19 w 255"/>
                  <a:gd name="T1" fmla="*/ 90 h 349"/>
                  <a:gd name="T2" fmla="*/ 40 w 255"/>
                  <a:gd name="T3" fmla="*/ 54 h 349"/>
                  <a:gd name="T4" fmla="*/ 76 w 255"/>
                  <a:gd name="T5" fmla="*/ 14 h 349"/>
                  <a:gd name="T6" fmla="*/ 113 w 255"/>
                  <a:gd name="T7" fmla="*/ 1 h 349"/>
                  <a:gd name="T8" fmla="*/ 145 w 255"/>
                  <a:gd name="T9" fmla="*/ 0 h 349"/>
                  <a:gd name="T10" fmla="*/ 183 w 255"/>
                  <a:gd name="T11" fmla="*/ 20 h 349"/>
                  <a:gd name="T12" fmla="*/ 207 w 255"/>
                  <a:gd name="T13" fmla="*/ 66 h 349"/>
                  <a:gd name="T14" fmla="*/ 219 w 255"/>
                  <a:gd name="T15" fmla="*/ 103 h 349"/>
                  <a:gd name="T16" fmla="*/ 215 w 255"/>
                  <a:gd name="T17" fmla="*/ 142 h 349"/>
                  <a:gd name="T18" fmla="*/ 207 w 255"/>
                  <a:gd name="T19" fmla="*/ 189 h 349"/>
                  <a:gd name="T20" fmla="*/ 196 w 255"/>
                  <a:gd name="T21" fmla="*/ 231 h 349"/>
                  <a:gd name="T22" fmla="*/ 196 w 255"/>
                  <a:gd name="T23" fmla="*/ 240 h 349"/>
                  <a:gd name="T24" fmla="*/ 213 w 255"/>
                  <a:gd name="T25" fmla="*/ 283 h 349"/>
                  <a:gd name="T26" fmla="*/ 246 w 255"/>
                  <a:gd name="T27" fmla="*/ 322 h 349"/>
                  <a:gd name="T28" fmla="*/ 255 w 255"/>
                  <a:gd name="T29" fmla="*/ 334 h 349"/>
                  <a:gd name="T30" fmla="*/ 245 w 255"/>
                  <a:gd name="T31" fmla="*/ 347 h 349"/>
                  <a:gd name="T32" fmla="*/ 228 w 255"/>
                  <a:gd name="T33" fmla="*/ 349 h 349"/>
                  <a:gd name="T34" fmla="*/ 197 w 255"/>
                  <a:gd name="T35" fmla="*/ 297 h 349"/>
                  <a:gd name="T36" fmla="*/ 181 w 255"/>
                  <a:gd name="T37" fmla="*/ 262 h 349"/>
                  <a:gd name="T38" fmla="*/ 162 w 255"/>
                  <a:gd name="T39" fmla="*/ 291 h 349"/>
                  <a:gd name="T40" fmla="*/ 147 w 255"/>
                  <a:gd name="T41" fmla="*/ 315 h 349"/>
                  <a:gd name="T42" fmla="*/ 109 w 255"/>
                  <a:gd name="T43" fmla="*/ 337 h 349"/>
                  <a:gd name="T44" fmla="*/ 82 w 255"/>
                  <a:gd name="T45" fmla="*/ 343 h 349"/>
                  <a:gd name="T46" fmla="*/ 33 w 255"/>
                  <a:gd name="T47" fmla="*/ 331 h 349"/>
                  <a:gd name="T48" fmla="*/ 7 w 255"/>
                  <a:gd name="T49" fmla="*/ 274 h 349"/>
                  <a:gd name="T50" fmla="*/ 0 w 255"/>
                  <a:gd name="T51" fmla="*/ 193 h 349"/>
                  <a:gd name="T52" fmla="*/ 4 w 255"/>
                  <a:gd name="T53" fmla="*/ 115 h 349"/>
                  <a:gd name="T54" fmla="*/ 19 w 255"/>
                  <a:gd name="T55" fmla="*/ 90 h 34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55"/>
                  <a:gd name="T85" fmla="*/ 0 h 349"/>
                  <a:gd name="T86" fmla="*/ 255 w 255"/>
                  <a:gd name="T87" fmla="*/ 349 h 349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55" h="349">
                    <a:moveTo>
                      <a:pt x="19" y="90"/>
                    </a:moveTo>
                    <a:lnTo>
                      <a:pt x="40" y="54"/>
                    </a:lnTo>
                    <a:lnTo>
                      <a:pt x="76" y="14"/>
                    </a:lnTo>
                    <a:lnTo>
                      <a:pt x="113" y="1"/>
                    </a:lnTo>
                    <a:lnTo>
                      <a:pt x="145" y="0"/>
                    </a:lnTo>
                    <a:lnTo>
                      <a:pt x="183" y="20"/>
                    </a:lnTo>
                    <a:lnTo>
                      <a:pt x="207" y="66"/>
                    </a:lnTo>
                    <a:lnTo>
                      <a:pt x="219" y="103"/>
                    </a:lnTo>
                    <a:lnTo>
                      <a:pt x="215" y="142"/>
                    </a:lnTo>
                    <a:lnTo>
                      <a:pt x="207" y="189"/>
                    </a:lnTo>
                    <a:lnTo>
                      <a:pt x="196" y="231"/>
                    </a:lnTo>
                    <a:lnTo>
                      <a:pt x="196" y="240"/>
                    </a:lnTo>
                    <a:lnTo>
                      <a:pt x="213" y="283"/>
                    </a:lnTo>
                    <a:lnTo>
                      <a:pt x="246" y="322"/>
                    </a:lnTo>
                    <a:lnTo>
                      <a:pt x="255" y="334"/>
                    </a:lnTo>
                    <a:lnTo>
                      <a:pt x="245" y="347"/>
                    </a:lnTo>
                    <a:lnTo>
                      <a:pt x="228" y="349"/>
                    </a:lnTo>
                    <a:lnTo>
                      <a:pt x="197" y="297"/>
                    </a:lnTo>
                    <a:lnTo>
                      <a:pt x="181" y="262"/>
                    </a:lnTo>
                    <a:lnTo>
                      <a:pt x="162" y="291"/>
                    </a:lnTo>
                    <a:lnTo>
                      <a:pt x="147" y="315"/>
                    </a:lnTo>
                    <a:lnTo>
                      <a:pt x="109" y="337"/>
                    </a:lnTo>
                    <a:lnTo>
                      <a:pt x="82" y="343"/>
                    </a:lnTo>
                    <a:lnTo>
                      <a:pt x="33" y="331"/>
                    </a:lnTo>
                    <a:lnTo>
                      <a:pt x="7" y="274"/>
                    </a:lnTo>
                    <a:lnTo>
                      <a:pt x="0" y="193"/>
                    </a:lnTo>
                    <a:lnTo>
                      <a:pt x="4" y="115"/>
                    </a:lnTo>
                    <a:lnTo>
                      <a:pt x="19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9" name="Freeform 349"/>
              <p:cNvSpPr>
                <a:spLocks/>
              </p:cNvSpPr>
              <p:nvPr/>
            </p:nvSpPr>
            <p:spPr bwMode="auto">
              <a:xfrm>
                <a:off x="4775" y="1329"/>
                <a:ext cx="121" cy="120"/>
              </a:xfrm>
              <a:custGeom>
                <a:avLst/>
                <a:gdLst>
                  <a:gd name="T0" fmla="*/ 150 w 486"/>
                  <a:gd name="T1" fmla="*/ 19 h 482"/>
                  <a:gd name="T2" fmla="*/ 196 w 486"/>
                  <a:gd name="T3" fmla="*/ 4 h 482"/>
                  <a:gd name="T4" fmla="*/ 227 w 486"/>
                  <a:gd name="T5" fmla="*/ 0 h 482"/>
                  <a:gd name="T6" fmla="*/ 253 w 486"/>
                  <a:gd name="T7" fmla="*/ 4 h 482"/>
                  <a:gd name="T8" fmla="*/ 267 w 486"/>
                  <a:gd name="T9" fmla="*/ 17 h 482"/>
                  <a:gd name="T10" fmla="*/ 259 w 486"/>
                  <a:gd name="T11" fmla="*/ 51 h 482"/>
                  <a:gd name="T12" fmla="*/ 215 w 486"/>
                  <a:gd name="T13" fmla="*/ 69 h 482"/>
                  <a:gd name="T14" fmla="*/ 167 w 486"/>
                  <a:gd name="T15" fmla="*/ 69 h 482"/>
                  <a:gd name="T16" fmla="*/ 115 w 486"/>
                  <a:gd name="T17" fmla="*/ 77 h 482"/>
                  <a:gd name="T18" fmla="*/ 77 w 486"/>
                  <a:gd name="T19" fmla="*/ 94 h 482"/>
                  <a:gd name="T20" fmla="*/ 41 w 486"/>
                  <a:gd name="T21" fmla="*/ 120 h 482"/>
                  <a:gd name="T22" fmla="*/ 38 w 486"/>
                  <a:gd name="T23" fmla="*/ 159 h 482"/>
                  <a:gd name="T24" fmla="*/ 53 w 486"/>
                  <a:gd name="T25" fmla="*/ 197 h 482"/>
                  <a:gd name="T26" fmla="*/ 90 w 486"/>
                  <a:gd name="T27" fmla="*/ 229 h 482"/>
                  <a:gd name="T28" fmla="*/ 148 w 486"/>
                  <a:gd name="T29" fmla="*/ 256 h 482"/>
                  <a:gd name="T30" fmla="*/ 226 w 486"/>
                  <a:gd name="T31" fmla="*/ 283 h 482"/>
                  <a:gd name="T32" fmla="*/ 305 w 486"/>
                  <a:gd name="T33" fmla="*/ 306 h 482"/>
                  <a:gd name="T34" fmla="*/ 357 w 486"/>
                  <a:gd name="T35" fmla="*/ 328 h 482"/>
                  <a:gd name="T36" fmla="*/ 382 w 486"/>
                  <a:gd name="T37" fmla="*/ 335 h 482"/>
                  <a:gd name="T38" fmla="*/ 373 w 486"/>
                  <a:gd name="T39" fmla="*/ 365 h 482"/>
                  <a:gd name="T40" fmla="*/ 382 w 486"/>
                  <a:gd name="T41" fmla="*/ 406 h 482"/>
                  <a:gd name="T42" fmla="*/ 428 w 486"/>
                  <a:gd name="T43" fmla="*/ 425 h 482"/>
                  <a:gd name="T44" fmla="*/ 484 w 486"/>
                  <a:gd name="T45" fmla="*/ 450 h 482"/>
                  <a:gd name="T46" fmla="*/ 486 w 486"/>
                  <a:gd name="T47" fmla="*/ 482 h 482"/>
                  <a:gd name="T48" fmla="*/ 428 w 486"/>
                  <a:gd name="T49" fmla="*/ 455 h 482"/>
                  <a:gd name="T50" fmla="*/ 357 w 486"/>
                  <a:gd name="T51" fmla="*/ 425 h 482"/>
                  <a:gd name="T52" fmla="*/ 341 w 486"/>
                  <a:gd name="T53" fmla="*/ 393 h 482"/>
                  <a:gd name="T54" fmla="*/ 341 w 486"/>
                  <a:gd name="T55" fmla="*/ 354 h 482"/>
                  <a:gd name="T56" fmla="*/ 305 w 486"/>
                  <a:gd name="T57" fmla="*/ 335 h 482"/>
                  <a:gd name="T58" fmla="*/ 213 w 486"/>
                  <a:gd name="T59" fmla="*/ 309 h 482"/>
                  <a:gd name="T60" fmla="*/ 144 w 486"/>
                  <a:gd name="T61" fmla="*/ 283 h 482"/>
                  <a:gd name="T62" fmla="*/ 66 w 486"/>
                  <a:gd name="T63" fmla="*/ 249 h 482"/>
                  <a:gd name="T64" fmla="*/ 12 w 486"/>
                  <a:gd name="T65" fmla="*/ 210 h 482"/>
                  <a:gd name="T66" fmla="*/ 1 w 486"/>
                  <a:gd name="T67" fmla="*/ 174 h 482"/>
                  <a:gd name="T68" fmla="*/ 0 w 486"/>
                  <a:gd name="T69" fmla="*/ 145 h 482"/>
                  <a:gd name="T70" fmla="*/ 1 w 486"/>
                  <a:gd name="T71" fmla="*/ 102 h 482"/>
                  <a:gd name="T72" fmla="*/ 34 w 486"/>
                  <a:gd name="T73" fmla="*/ 71 h 482"/>
                  <a:gd name="T74" fmla="*/ 83 w 486"/>
                  <a:gd name="T75" fmla="*/ 49 h 482"/>
                  <a:gd name="T76" fmla="*/ 124 w 486"/>
                  <a:gd name="T77" fmla="*/ 30 h 482"/>
                  <a:gd name="T78" fmla="*/ 150 w 486"/>
                  <a:gd name="T79" fmla="*/ 19 h 48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486"/>
                  <a:gd name="T121" fmla="*/ 0 h 482"/>
                  <a:gd name="T122" fmla="*/ 486 w 486"/>
                  <a:gd name="T123" fmla="*/ 482 h 48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486" h="482">
                    <a:moveTo>
                      <a:pt x="150" y="19"/>
                    </a:moveTo>
                    <a:lnTo>
                      <a:pt x="196" y="4"/>
                    </a:lnTo>
                    <a:lnTo>
                      <a:pt x="227" y="0"/>
                    </a:lnTo>
                    <a:lnTo>
                      <a:pt x="253" y="4"/>
                    </a:lnTo>
                    <a:lnTo>
                      <a:pt x="267" y="17"/>
                    </a:lnTo>
                    <a:lnTo>
                      <a:pt x="259" y="51"/>
                    </a:lnTo>
                    <a:lnTo>
                      <a:pt x="215" y="69"/>
                    </a:lnTo>
                    <a:lnTo>
                      <a:pt x="167" y="69"/>
                    </a:lnTo>
                    <a:lnTo>
                      <a:pt x="115" y="77"/>
                    </a:lnTo>
                    <a:lnTo>
                      <a:pt x="77" y="94"/>
                    </a:lnTo>
                    <a:lnTo>
                      <a:pt x="41" y="120"/>
                    </a:lnTo>
                    <a:lnTo>
                      <a:pt x="38" y="159"/>
                    </a:lnTo>
                    <a:lnTo>
                      <a:pt x="53" y="197"/>
                    </a:lnTo>
                    <a:lnTo>
                      <a:pt x="90" y="229"/>
                    </a:lnTo>
                    <a:lnTo>
                      <a:pt x="148" y="256"/>
                    </a:lnTo>
                    <a:lnTo>
                      <a:pt x="226" y="283"/>
                    </a:lnTo>
                    <a:lnTo>
                      <a:pt x="305" y="306"/>
                    </a:lnTo>
                    <a:lnTo>
                      <a:pt x="357" y="328"/>
                    </a:lnTo>
                    <a:lnTo>
                      <a:pt x="382" y="335"/>
                    </a:lnTo>
                    <a:lnTo>
                      <a:pt x="373" y="365"/>
                    </a:lnTo>
                    <a:lnTo>
                      <a:pt x="382" y="406"/>
                    </a:lnTo>
                    <a:lnTo>
                      <a:pt x="428" y="425"/>
                    </a:lnTo>
                    <a:lnTo>
                      <a:pt x="484" y="450"/>
                    </a:lnTo>
                    <a:lnTo>
                      <a:pt x="486" y="482"/>
                    </a:lnTo>
                    <a:lnTo>
                      <a:pt x="428" y="455"/>
                    </a:lnTo>
                    <a:lnTo>
                      <a:pt x="357" y="425"/>
                    </a:lnTo>
                    <a:lnTo>
                      <a:pt x="341" y="393"/>
                    </a:lnTo>
                    <a:lnTo>
                      <a:pt x="341" y="354"/>
                    </a:lnTo>
                    <a:lnTo>
                      <a:pt x="305" y="335"/>
                    </a:lnTo>
                    <a:lnTo>
                      <a:pt x="213" y="309"/>
                    </a:lnTo>
                    <a:lnTo>
                      <a:pt x="144" y="283"/>
                    </a:lnTo>
                    <a:lnTo>
                      <a:pt x="66" y="249"/>
                    </a:lnTo>
                    <a:lnTo>
                      <a:pt x="12" y="210"/>
                    </a:lnTo>
                    <a:lnTo>
                      <a:pt x="1" y="174"/>
                    </a:lnTo>
                    <a:lnTo>
                      <a:pt x="0" y="145"/>
                    </a:lnTo>
                    <a:lnTo>
                      <a:pt x="1" y="102"/>
                    </a:lnTo>
                    <a:lnTo>
                      <a:pt x="34" y="71"/>
                    </a:lnTo>
                    <a:lnTo>
                      <a:pt x="83" y="49"/>
                    </a:lnTo>
                    <a:lnTo>
                      <a:pt x="124" y="30"/>
                    </a:lnTo>
                    <a:lnTo>
                      <a:pt x="150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0" name="Freeform 350"/>
              <p:cNvSpPr>
                <a:spLocks/>
              </p:cNvSpPr>
              <p:nvPr/>
            </p:nvSpPr>
            <p:spPr bwMode="auto">
              <a:xfrm>
                <a:off x="4850" y="1327"/>
                <a:ext cx="67" cy="71"/>
              </a:xfrm>
              <a:custGeom>
                <a:avLst/>
                <a:gdLst>
                  <a:gd name="T0" fmla="*/ 116 w 266"/>
                  <a:gd name="T1" fmla="*/ 19 h 285"/>
                  <a:gd name="T2" fmla="*/ 70 w 266"/>
                  <a:gd name="T3" fmla="*/ 4 h 285"/>
                  <a:gd name="T4" fmla="*/ 39 w 266"/>
                  <a:gd name="T5" fmla="*/ 0 h 285"/>
                  <a:gd name="T6" fmla="*/ 13 w 266"/>
                  <a:gd name="T7" fmla="*/ 4 h 285"/>
                  <a:gd name="T8" fmla="*/ 0 w 266"/>
                  <a:gd name="T9" fmla="*/ 17 h 285"/>
                  <a:gd name="T10" fmla="*/ 10 w 266"/>
                  <a:gd name="T11" fmla="*/ 35 h 285"/>
                  <a:gd name="T12" fmla="*/ 61 w 266"/>
                  <a:gd name="T13" fmla="*/ 42 h 285"/>
                  <a:gd name="T14" fmla="*/ 111 w 266"/>
                  <a:gd name="T15" fmla="*/ 64 h 285"/>
                  <a:gd name="T16" fmla="*/ 151 w 266"/>
                  <a:gd name="T17" fmla="*/ 77 h 285"/>
                  <a:gd name="T18" fmla="*/ 189 w 266"/>
                  <a:gd name="T19" fmla="*/ 95 h 285"/>
                  <a:gd name="T20" fmla="*/ 225 w 266"/>
                  <a:gd name="T21" fmla="*/ 120 h 285"/>
                  <a:gd name="T22" fmla="*/ 228 w 266"/>
                  <a:gd name="T23" fmla="*/ 160 h 285"/>
                  <a:gd name="T24" fmla="*/ 212 w 266"/>
                  <a:gd name="T25" fmla="*/ 198 h 285"/>
                  <a:gd name="T26" fmla="*/ 176 w 266"/>
                  <a:gd name="T27" fmla="*/ 231 h 285"/>
                  <a:gd name="T28" fmla="*/ 119 w 266"/>
                  <a:gd name="T29" fmla="*/ 256 h 285"/>
                  <a:gd name="T30" fmla="*/ 122 w 266"/>
                  <a:gd name="T31" fmla="*/ 285 h 285"/>
                  <a:gd name="T32" fmla="*/ 200 w 266"/>
                  <a:gd name="T33" fmla="*/ 250 h 285"/>
                  <a:gd name="T34" fmla="*/ 253 w 266"/>
                  <a:gd name="T35" fmla="*/ 211 h 285"/>
                  <a:gd name="T36" fmla="*/ 264 w 266"/>
                  <a:gd name="T37" fmla="*/ 174 h 285"/>
                  <a:gd name="T38" fmla="*/ 266 w 266"/>
                  <a:gd name="T39" fmla="*/ 147 h 285"/>
                  <a:gd name="T40" fmla="*/ 264 w 266"/>
                  <a:gd name="T41" fmla="*/ 103 h 285"/>
                  <a:gd name="T42" fmla="*/ 231 w 266"/>
                  <a:gd name="T43" fmla="*/ 71 h 285"/>
                  <a:gd name="T44" fmla="*/ 182 w 266"/>
                  <a:gd name="T45" fmla="*/ 49 h 285"/>
                  <a:gd name="T46" fmla="*/ 141 w 266"/>
                  <a:gd name="T47" fmla="*/ 30 h 285"/>
                  <a:gd name="T48" fmla="*/ 116 w 266"/>
                  <a:gd name="T49" fmla="*/ 19 h 28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66"/>
                  <a:gd name="T76" fmla="*/ 0 h 285"/>
                  <a:gd name="T77" fmla="*/ 266 w 266"/>
                  <a:gd name="T78" fmla="*/ 285 h 28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66" h="285">
                    <a:moveTo>
                      <a:pt x="116" y="19"/>
                    </a:moveTo>
                    <a:lnTo>
                      <a:pt x="70" y="4"/>
                    </a:lnTo>
                    <a:lnTo>
                      <a:pt x="39" y="0"/>
                    </a:lnTo>
                    <a:lnTo>
                      <a:pt x="13" y="4"/>
                    </a:lnTo>
                    <a:lnTo>
                      <a:pt x="0" y="17"/>
                    </a:lnTo>
                    <a:lnTo>
                      <a:pt x="10" y="35"/>
                    </a:lnTo>
                    <a:lnTo>
                      <a:pt x="61" y="42"/>
                    </a:lnTo>
                    <a:lnTo>
                      <a:pt x="111" y="64"/>
                    </a:lnTo>
                    <a:lnTo>
                      <a:pt x="151" y="77"/>
                    </a:lnTo>
                    <a:lnTo>
                      <a:pt x="189" y="95"/>
                    </a:lnTo>
                    <a:lnTo>
                      <a:pt x="225" y="120"/>
                    </a:lnTo>
                    <a:lnTo>
                      <a:pt x="228" y="160"/>
                    </a:lnTo>
                    <a:lnTo>
                      <a:pt x="212" y="198"/>
                    </a:lnTo>
                    <a:lnTo>
                      <a:pt x="176" y="231"/>
                    </a:lnTo>
                    <a:lnTo>
                      <a:pt x="119" y="256"/>
                    </a:lnTo>
                    <a:lnTo>
                      <a:pt x="122" y="285"/>
                    </a:lnTo>
                    <a:lnTo>
                      <a:pt x="200" y="250"/>
                    </a:lnTo>
                    <a:lnTo>
                      <a:pt x="253" y="211"/>
                    </a:lnTo>
                    <a:lnTo>
                      <a:pt x="264" y="174"/>
                    </a:lnTo>
                    <a:lnTo>
                      <a:pt x="266" y="147"/>
                    </a:lnTo>
                    <a:lnTo>
                      <a:pt x="264" y="103"/>
                    </a:lnTo>
                    <a:lnTo>
                      <a:pt x="231" y="71"/>
                    </a:lnTo>
                    <a:lnTo>
                      <a:pt x="182" y="49"/>
                    </a:lnTo>
                    <a:lnTo>
                      <a:pt x="141" y="30"/>
                    </a:lnTo>
                    <a:lnTo>
                      <a:pt x="116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5" name="Group 369"/>
            <p:cNvGrpSpPr>
              <a:grpSpLocks/>
            </p:cNvGrpSpPr>
            <p:nvPr/>
          </p:nvGrpSpPr>
          <p:grpSpPr bwMode="auto">
            <a:xfrm>
              <a:off x="4967" y="1056"/>
              <a:ext cx="177" cy="400"/>
              <a:chOff x="4967" y="1056"/>
              <a:chExt cx="177" cy="400"/>
            </a:xfrm>
          </p:grpSpPr>
          <p:sp>
            <p:nvSpPr>
              <p:cNvPr id="181" name="Freeform 352"/>
              <p:cNvSpPr>
                <a:spLocks/>
              </p:cNvSpPr>
              <p:nvPr/>
            </p:nvSpPr>
            <p:spPr bwMode="auto">
              <a:xfrm>
                <a:off x="4970" y="1074"/>
                <a:ext cx="93" cy="377"/>
              </a:xfrm>
              <a:custGeom>
                <a:avLst/>
                <a:gdLst>
                  <a:gd name="T0" fmla="*/ 366 w 372"/>
                  <a:gd name="T1" fmla="*/ 271 h 1508"/>
                  <a:gd name="T2" fmla="*/ 372 w 372"/>
                  <a:gd name="T3" fmla="*/ 327 h 1508"/>
                  <a:gd name="T4" fmla="*/ 372 w 372"/>
                  <a:gd name="T5" fmla="*/ 625 h 1508"/>
                  <a:gd name="T6" fmla="*/ 346 w 372"/>
                  <a:gd name="T7" fmla="*/ 1026 h 1508"/>
                  <a:gd name="T8" fmla="*/ 348 w 372"/>
                  <a:gd name="T9" fmla="*/ 1282 h 1508"/>
                  <a:gd name="T10" fmla="*/ 361 w 372"/>
                  <a:gd name="T11" fmla="*/ 1459 h 1508"/>
                  <a:gd name="T12" fmla="*/ 348 w 372"/>
                  <a:gd name="T13" fmla="*/ 1508 h 1508"/>
                  <a:gd name="T14" fmla="*/ 327 w 372"/>
                  <a:gd name="T15" fmla="*/ 1497 h 1508"/>
                  <a:gd name="T16" fmla="*/ 201 w 372"/>
                  <a:gd name="T17" fmla="*/ 1400 h 1508"/>
                  <a:gd name="T18" fmla="*/ 168 w 372"/>
                  <a:gd name="T19" fmla="*/ 1381 h 1508"/>
                  <a:gd name="T20" fmla="*/ 149 w 372"/>
                  <a:gd name="T21" fmla="*/ 1353 h 1508"/>
                  <a:gd name="T22" fmla="*/ 116 w 372"/>
                  <a:gd name="T23" fmla="*/ 1316 h 1508"/>
                  <a:gd name="T24" fmla="*/ 73 w 372"/>
                  <a:gd name="T25" fmla="*/ 1277 h 1508"/>
                  <a:gd name="T26" fmla="*/ 52 w 372"/>
                  <a:gd name="T27" fmla="*/ 1226 h 1508"/>
                  <a:gd name="T28" fmla="*/ 0 w 372"/>
                  <a:gd name="T29" fmla="*/ 1181 h 1508"/>
                  <a:gd name="T30" fmla="*/ 0 w 372"/>
                  <a:gd name="T31" fmla="*/ 1155 h 1508"/>
                  <a:gd name="T32" fmla="*/ 28 w 372"/>
                  <a:gd name="T33" fmla="*/ 1120 h 1508"/>
                  <a:gd name="T34" fmla="*/ 38 w 372"/>
                  <a:gd name="T35" fmla="*/ 1076 h 1508"/>
                  <a:gd name="T36" fmla="*/ 32 w 372"/>
                  <a:gd name="T37" fmla="*/ 1052 h 1508"/>
                  <a:gd name="T38" fmla="*/ 19 w 372"/>
                  <a:gd name="T39" fmla="*/ 1013 h 1508"/>
                  <a:gd name="T40" fmla="*/ 14 w 372"/>
                  <a:gd name="T41" fmla="*/ 986 h 1508"/>
                  <a:gd name="T42" fmla="*/ 35 w 372"/>
                  <a:gd name="T43" fmla="*/ 942 h 1508"/>
                  <a:gd name="T44" fmla="*/ 35 w 372"/>
                  <a:gd name="T45" fmla="*/ 914 h 1508"/>
                  <a:gd name="T46" fmla="*/ 13 w 372"/>
                  <a:gd name="T47" fmla="*/ 856 h 1508"/>
                  <a:gd name="T48" fmla="*/ 13 w 372"/>
                  <a:gd name="T49" fmla="*/ 824 h 1508"/>
                  <a:gd name="T50" fmla="*/ 25 w 372"/>
                  <a:gd name="T51" fmla="*/ 798 h 1508"/>
                  <a:gd name="T52" fmla="*/ 47 w 372"/>
                  <a:gd name="T53" fmla="*/ 768 h 1508"/>
                  <a:gd name="T54" fmla="*/ 46 w 372"/>
                  <a:gd name="T55" fmla="*/ 717 h 1508"/>
                  <a:gd name="T56" fmla="*/ 32 w 372"/>
                  <a:gd name="T57" fmla="*/ 675 h 1508"/>
                  <a:gd name="T58" fmla="*/ 46 w 372"/>
                  <a:gd name="T59" fmla="*/ 625 h 1508"/>
                  <a:gd name="T60" fmla="*/ 58 w 372"/>
                  <a:gd name="T61" fmla="*/ 613 h 1508"/>
                  <a:gd name="T62" fmla="*/ 47 w 372"/>
                  <a:gd name="T63" fmla="*/ 568 h 1508"/>
                  <a:gd name="T64" fmla="*/ 19 w 372"/>
                  <a:gd name="T65" fmla="*/ 520 h 1508"/>
                  <a:gd name="T66" fmla="*/ 13 w 372"/>
                  <a:gd name="T67" fmla="*/ 489 h 1508"/>
                  <a:gd name="T68" fmla="*/ 19 w 372"/>
                  <a:gd name="T69" fmla="*/ 459 h 1508"/>
                  <a:gd name="T70" fmla="*/ 54 w 372"/>
                  <a:gd name="T71" fmla="*/ 432 h 1508"/>
                  <a:gd name="T72" fmla="*/ 52 w 372"/>
                  <a:gd name="T73" fmla="*/ 411 h 1508"/>
                  <a:gd name="T74" fmla="*/ 14 w 372"/>
                  <a:gd name="T75" fmla="*/ 342 h 1508"/>
                  <a:gd name="T76" fmla="*/ 2 w 372"/>
                  <a:gd name="T77" fmla="*/ 288 h 1508"/>
                  <a:gd name="T78" fmla="*/ 13 w 372"/>
                  <a:gd name="T79" fmla="*/ 258 h 1508"/>
                  <a:gd name="T80" fmla="*/ 47 w 372"/>
                  <a:gd name="T81" fmla="*/ 231 h 1508"/>
                  <a:gd name="T82" fmla="*/ 38 w 372"/>
                  <a:gd name="T83" fmla="*/ 206 h 1508"/>
                  <a:gd name="T84" fmla="*/ 14 w 372"/>
                  <a:gd name="T85" fmla="*/ 179 h 1508"/>
                  <a:gd name="T86" fmla="*/ 14 w 372"/>
                  <a:gd name="T87" fmla="*/ 149 h 1508"/>
                  <a:gd name="T88" fmla="*/ 54 w 372"/>
                  <a:gd name="T89" fmla="*/ 128 h 1508"/>
                  <a:gd name="T90" fmla="*/ 71 w 372"/>
                  <a:gd name="T91" fmla="*/ 107 h 1508"/>
                  <a:gd name="T92" fmla="*/ 38 w 372"/>
                  <a:gd name="T93" fmla="*/ 62 h 1508"/>
                  <a:gd name="T94" fmla="*/ 38 w 372"/>
                  <a:gd name="T95" fmla="*/ 38 h 1508"/>
                  <a:gd name="T96" fmla="*/ 77 w 372"/>
                  <a:gd name="T97" fmla="*/ 24 h 1508"/>
                  <a:gd name="T98" fmla="*/ 79 w 372"/>
                  <a:gd name="T99" fmla="*/ 0 h 1508"/>
                  <a:gd name="T100" fmla="*/ 122 w 372"/>
                  <a:gd name="T101" fmla="*/ 62 h 1508"/>
                  <a:gd name="T102" fmla="*/ 174 w 372"/>
                  <a:gd name="T103" fmla="*/ 127 h 1508"/>
                  <a:gd name="T104" fmla="*/ 239 w 372"/>
                  <a:gd name="T105" fmla="*/ 179 h 1508"/>
                  <a:gd name="T106" fmla="*/ 291 w 372"/>
                  <a:gd name="T107" fmla="*/ 220 h 1508"/>
                  <a:gd name="T108" fmla="*/ 346 w 372"/>
                  <a:gd name="T109" fmla="*/ 252 h 1508"/>
                  <a:gd name="T110" fmla="*/ 366 w 372"/>
                  <a:gd name="T111" fmla="*/ 271 h 15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2"/>
                  <a:gd name="T169" fmla="*/ 0 h 1508"/>
                  <a:gd name="T170" fmla="*/ 372 w 372"/>
                  <a:gd name="T171" fmla="*/ 1508 h 15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2" h="1508">
                    <a:moveTo>
                      <a:pt x="366" y="271"/>
                    </a:moveTo>
                    <a:lnTo>
                      <a:pt x="372" y="327"/>
                    </a:lnTo>
                    <a:lnTo>
                      <a:pt x="372" y="625"/>
                    </a:lnTo>
                    <a:lnTo>
                      <a:pt x="346" y="1026"/>
                    </a:lnTo>
                    <a:lnTo>
                      <a:pt x="348" y="1282"/>
                    </a:lnTo>
                    <a:lnTo>
                      <a:pt x="361" y="1459"/>
                    </a:lnTo>
                    <a:lnTo>
                      <a:pt x="348" y="1508"/>
                    </a:lnTo>
                    <a:lnTo>
                      <a:pt x="327" y="1497"/>
                    </a:lnTo>
                    <a:lnTo>
                      <a:pt x="201" y="1400"/>
                    </a:lnTo>
                    <a:lnTo>
                      <a:pt x="168" y="1381"/>
                    </a:lnTo>
                    <a:lnTo>
                      <a:pt x="149" y="1353"/>
                    </a:lnTo>
                    <a:lnTo>
                      <a:pt x="116" y="1316"/>
                    </a:lnTo>
                    <a:lnTo>
                      <a:pt x="73" y="1277"/>
                    </a:lnTo>
                    <a:lnTo>
                      <a:pt x="52" y="1226"/>
                    </a:lnTo>
                    <a:lnTo>
                      <a:pt x="0" y="1181"/>
                    </a:lnTo>
                    <a:lnTo>
                      <a:pt x="0" y="1155"/>
                    </a:lnTo>
                    <a:lnTo>
                      <a:pt x="28" y="1120"/>
                    </a:lnTo>
                    <a:lnTo>
                      <a:pt x="38" y="1076"/>
                    </a:lnTo>
                    <a:lnTo>
                      <a:pt x="32" y="1052"/>
                    </a:lnTo>
                    <a:lnTo>
                      <a:pt x="19" y="1013"/>
                    </a:lnTo>
                    <a:lnTo>
                      <a:pt x="14" y="986"/>
                    </a:lnTo>
                    <a:lnTo>
                      <a:pt x="35" y="942"/>
                    </a:lnTo>
                    <a:lnTo>
                      <a:pt x="35" y="914"/>
                    </a:lnTo>
                    <a:lnTo>
                      <a:pt x="13" y="856"/>
                    </a:lnTo>
                    <a:lnTo>
                      <a:pt x="13" y="824"/>
                    </a:lnTo>
                    <a:lnTo>
                      <a:pt x="25" y="798"/>
                    </a:lnTo>
                    <a:lnTo>
                      <a:pt x="47" y="768"/>
                    </a:lnTo>
                    <a:lnTo>
                      <a:pt x="46" y="717"/>
                    </a:lnTo>
                    <a:lnTo>
                      <a:pt x="32" y="675"/>
                    </a:lnTo>
                    <a:lnTo>
                      <a:pt x="46" y="625"/>
                    </a:lnTo>
                    <a:lnTo>
                      <a:pt x="58" y="613"/>
                    </a:lnTo>
                    <a:lnTo>
                      <a:pt x="47" y="568"/>
                    </a:lnTo>
                    <a:lnTo>
                      <a:pt x="19" y="520"/>
                    </a:lnTo>
                    <a:lnTo>
                      <a:pt x="13" y="489"/>
                    </a:lnTo>
                    <a:lnTo>
                      <a:pt x="19" y="459"/>
                    </a:lnTo>
                    <a:lnTo>
                      <a:pt x="54" y="432"/>
                    </a:lnTo>
                    <a:lnTo>
                      <a:pt x="52" y="411"/>
                    </a:lnTo>
                    <a:lnTo>
                      <a:pt x="14" y="342"/>
                    </a:lnTo>
                    <a:lnTo>
                      <a:pt x="2" y="288"/>
                    </a:lnTo>
                    <a:lnTo>
                      <a:pt x="13" y="258"/>
                    </a:lnTo>
                    <a:lnTo>
                      <a:pt x="47" y="231"/>
                    </a:lnTo>
                    <a:lnTo>
                      <a:pt x="38" y="206"/>
                    </a:lnTo>
                    <a:lnTo>
                      <a:pt x="14" y="179"/>
                    </a:lnTo>
                    <a:lnTo>
                      <a:pt x="14" y="149"/>
                    </a:lnTo>
                    <a:lnTo>
                      <a:pt x="54" y="128"/>
                    </a:lnTo>
                    <a:lnTo>
                      <a:pt x="71" y="107"/>
                    </a:lnTo>
                    <a:lnTo>
                      <a:pt x="38" y="62"/>
                    </a:lnTo>
                    <a:lnTo>
                      <a:pt x="38" y="38"/>
                    </a:lnTo>
                    <a:lnTo>
                      <a:pt x="77" y="24"/>
                    </a:lnTo>
                    <a:lnTo>
                      <a:pt x="79" y="0"/>
                    </a:lnTo>
                    <a:lnTo>
                      <a:pt x="122" y="62"/>
                    </a:lnTo>
                    <a:lnTo>
                      <a:pt x="174" y="127"/>
                    </a:lnTo>
                    <a:lnTo>
                      <a:pt x="239" y="179"/>
                    </a:lnTo>
                    <a:lnTo>
                      <a:pt x="291" y="220"/>
                    </a:lnTo>
                    <a:lnTo>
                      <a:pt x="346" y="252"/>
                    </a:lnTo>
                    <a:lnTo>
                      <a:pt x="366" y="27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2" name="Freeform 353"/>
              <p:cNvSpPr>
                <a:spLocks/>
              </p:cNvSpPr>
              <p:nvPr/>
            </p:nvSpPr>
            <p:spPr bwMode="auto">
              <a:xfrm>
                <a:off x="4967" y="1080"/>
                <a:ext cx="27" cy="287"/>
              </a:xfrm>
              <a:custGeom>
                <a:avLst/>
                <a:gdLst>
                  <a:gd name="T0" fmla="*/ 73 w 108"/>
                  <a:gd name="T1" fmla="*/ 38 h 1149"/>
                  <a:gd name="T2" fmla="*/ 108 w 108"/>
                  <a:gd name="T3" fmla="*/ 79 h 1149"/>
                  <a:gd name="T4" fmla="*/ 86 w 108"/>
                  <a:gd name="T5" fmla="*/ 111 h 1149"/>
                  <a:gd name="T6" fmla="*/ 40 w 108"/>
                  <a:gd name="T7" fmla="*/ 134 h 1149"/>
                  <a:gd name="T8" fmla="*/ 58 w 108"/>
                  <a:gd name="T9" fmla="*/ 167 h 1149"/>
                  <a:gd name="T10" fmla="*/ 80 w 108"/>
                  <a:gd name="T11" fmla="*/ 208 h 1149"/>
                  <a:gd name="T12" fmla="*/ 54 w 108"/>
                  <a:gd name="T13" fmla="*/ 234 h 1149"/>
                  <a:gd name="T14" fmla="*/ 32 w 108"/>
                  <a:gd name="T15" fmla="*/ 266 h 1149"/>
                  <a:gd name="T16" fmla="*/ 54 w 108"/>
                  <a:gd name="T17" fmla="*/ 324 h 1149"/>
                  <a:gd name="T18" fmla="*/ 80 w 108"/>
                  <a:gd name="T19" fmla="*/ 376 h 1149"/>
                  <a:gd name="T20" fmla="*/ 73 w 108"/>
                  <a:gd name="T21" fmla="*/ 421 h 1149"/>
                  <a:gd name="T22" fmla="*/ 40 w 108"/>
                  <a:gd name="T23" fmla="*/ 460 h 1149"/>
                  <a:gd name="T24" fmla="*/ 78 w 108"/>
                  <a:gd name="T25" fmla="*/ 541 h 1149"/>
                  <a:gd name="T26" fmla="*/ 92 w 108"/>
                  <a:gd name="T27" fmla="*/ 593 h 1149"/>
                  <a:gd name="T28" fmla="*/ 64 w 108"/>
                  <a:gd name="T29" fmla="*/ 631 h 1149"/>
                  <a:gd name="T30" fmla="*/ 70 w 108"/>
                  <a:gd name="T31" fmla="*/ 690 h 1149"/>
                  <a:gd name="T32" fmla="*/ 91 w 108"/>
                  <a:gd name="T33" fmla="*/ 748 h 1149"/>
                  <a:gd name="T34" fmla="*/ 67 w 108"/>
                  <a:gd name="T35" fmla="*/ 780 h 1149"/>
                  <a:gd name="T36" fmla="*/ 34 w 108"/>
                  <a:gd name="T37" fmla="*/ 819 h 1149"/>
                  <a:gd name="T38" fmla="*/ 67 w 108"/>
                  <a:gd name="T39" fmla="*/ 889 h 1149"/>
                  <a:gd name="T40" fmla="*/ 80 w 108"/>
                  <a:gd name="T41" fmla="*/ 937 h 1149"/>
                  <a:gd name="T42" fmla="*/ 51 w 108"/>
                  <a:gd name="T43" fmla="*/ 948 h 1149"/>
                  <a:gd name="T44" fmla="*/ 58 w 108"/>
                  <a:gd name="T45" fmla="*/ 1025 h 1149"/>
                  <a:gd name="T46" fmla="*/ 73 w 108"/>
                  <a:gd name="T47" fmla="*/ 1066 h 1149"/>
                  <a:gd name="T48" fmla="*/ 51 w 108"/>
                  <a:gd name="T49" fmla="*/ 1111 h 1149"/>
                  <a:gd name="T50" fmla="*/ 2 w 108"/>
                  <a:gd name="T51" fmla="*/ 1135 h 1149"/>
                  <a:gd name="T52" fmla="*/ 38 w 108"/>
                  <a:gd name="T53" fmla="*/ 1057 h 1149"/>
                  <a:gd name="T54" fmla="*/ 21 w 108"/>
                  <a:gd name="T55" fmla="*/ 993 h 1149"/>
                  <a:gd name="T56" fmla="*/ 26 w 108"/>
                  <a:gd name="T57" fmla="*/ 937 h 1149"/>
                  <a:gd name="T58" fmla="*/ 40 w 108"/>
                  <a:gd name="T59" fmla="*/ 910 h 1149"/>
                  <a:gd name="T60" fmla="*/ 8 w 108"/>
                  <a:gd name="T61" fmla="*/ 840 h 1149"/>
                  <a:gd name="T62" fmla="*/ 8 w 108"/>
                  <a:gd name="T63" fmla="*/ 769 h 1149"/>
                  <a:gd name="T64" fmla="*/ 48 w 108"/>
                  <a:gd name="T65" fmla="*/ 737 h 1149"/>
                  <a:gd name="T66" fmla="*/ 38 w 108"/>
                  <a:gd name="T67" fmla="*/ 685 h 1149"/>
                  <a:gd name="T68" fmla="*/ 27 w 108"/>
                  <a:gd name="T69" fmla="*/ 625 h 1149"/>
                  <a:gd name="T70" fmla="*/ 58 w 108"/>
                  <a:gd name="T71" fmla="*/ 587 h 1149"/>
                  <a:gd name="T72" fmla="*/ 45 w 108"/>
                  <a:gd name="T73" fmla="*/ 544 h 1149"/>
                  <a:gd name="T74" fmla="*/ 8 w 108"/>
                  <a:gd name="T75" fmla="*/ 476 h 1149"/>
                  <a:gd name="T76" fmla="*/ 15 w 108"/>
                  <a:gd name="T77" fmla="*/ 432 h 1149"/>
                  <a:gd name="T78" fmla="*/ 48 w 108"/>
                  <a:gd name="T79" fmla="*/ 395 h 1149"/>
                  <a:gd name="T80" fmla="*/ 13 w 108"/>
                  <a:gd name="T81" fmla="*/ 310 h 1149"/>
                  <a:gd name="T82" fmla="*/ 0 w 108"/>
                  <a:gd name="T83" fmla="*/ 259 h 1149"/>
                  <a:gd name="T84" fmla="*/ 27 w 108"/>
                  <a:gd name="T85" fmla="*/ 221 h 1149"/>
                  <a:gd name="T86" fmla="*/ 40 w 108"/>
                  <a:gd name="T87" fmla="*/ 196 h 1149"/>
                  <a:gd name="T88" fmla="*/ 8 w 108"/>
                  <a:gd name="T89" fmla="*/ 155 h 1149"/>
                  <a:gd name="T90" fmla="*/ 21 w 108"/>
                  <a:gd name="T91" fmla="*/ 115 h 1149"/>
                  <a:gd name="T92" fmla="*/ 58 w 108"/>
                  <a:gd name="T93" fmla="*/ 90 h 1149"/>
                  <a:gd name="T94" fmla="*/ 60 w 108"/>
                  <a:gd name="T95" fmla="*/ 60 h 1149"/>
                  <a:gd name="T96" fmla="*/ 40 w 108"/>
                  <a:gd name="T97" fmla="*/ 20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8"/>
                  <a:gd name="T148" fmla="*/ 0 h 1149"/>
                  <a:gd name="T149" fmla="*/ 108 w 108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8" h="1149">
                    <a:moveTo>
                      <a:pt x="54" y="0"/>
                    </a:moveTo>
                    <a:lnTo>
                      <a:pt x="73" y="38"/>
                    </a:lnTo>
                    <a:lnTo>
                      <a:pt x="91" y="63"/>
                    </a:lnTo>
                    <a:lnTo>
                      <a:pt x="108" y="79"/>
                    </a:lnTo>
                    <a:lnTo>
                      <a:pt x="103" y="98"/>
                    </a:lnTo>
                    <a:lnTo>
                      <a:pt x="86" y="111"/>
                    </a:lnTo>
                    <a:lnTo>
                      <a:pt x="60" y="117"/>
                    </a:lnTo>
                    <a:lnTo>
                      <a:pt x="40" y="134"/>
                    </a:lnTo>
                    <a:lnTo>
                      <a:pt x="45" y="155"/>
                    </a:lnTo>
                    <a:lnTo>
                      <a:pt x="58" y="167"/>
                    </a:lnTo>
                    <a:lnTo>
                      <a:pt x="80" y="193"/>
                    </a:lnTo>
                    <a:lnTo>
                      <a:pt x="80" y="208"/>
                    </a:lnTo>
                    <a:lnTo>
                      <a:pt x="73" y="221"/>
                    </a:lnTo>
                    <a:lnTo>
                      <a:pt x="54" y="234"/>
                    </a:lnTo>
                    <a:lnTo>
                      <a:pt x="34" y="247"/>
                    </a:lnTo>
                    <a:lnTo>
                      <a:pt x="32" y="266"/>
                    </a:lnTo>
                    <a:lnTo>
                      <a:pt x="38" y="286"/>
                    </a:lnTo>
                    <a:lnTo>
                      <a:pt x="54" y="324"/>
                    </a:lnTo>
                    <a:lnTo>
                      <a:pt x="67" y="354"/>
                    </a:lnTo>
                    <a:lnTo>
                      <a:pt x="80" y="376"/>
                    </a:lnTo>
                    <a:lnTo>
                      <a:pt x="80" y="400"/>
                    </a:lnTo>
                    <a:lnTo>
                      <a:pt x="73" y="421"/>
                    </a:lnTo>
                    <a:lnTo>
                      <a:pt x="54" y="440"/>
                    </a:lnTo>
                    <a:lnTo>
                      <a:pt x="40" y="460"/>
                    </a:lnTo>
                    <a:lnTo>
                      <a:pt x="45" y="492"/>
                    </a:lnTo>
                    <a:lnTo>
                      <a:pt x="78" y="541"/>
                    </a:lnTo>
                    <a:lnTo>
                      <a:pt x="91" y="568"/>
                    </a:lnTo>
                    <a:lnTo>
                      <a:pt x="92" y="593"/>
                    </a:lnTo>
                    <a:lnTo>
                      <a:pt x="80" y="612"/>
                    </a:lnTo>
                    <a:lnTo>
                      <a:pt x="64" y="631"/>
                    </a:lnTo>
                    <a:lnTo>
                      <a:pt x="60" y="658"/>
                    </a:lnTo>
                    <a:lnTo>
                      <a:pt x="70" y="690"/>
                    </a:lnTo>
                    <a:lnTo>
                      <a:pt x="84" y="724"/>
                    </a:lnTo>
                    <a:lnTo>
                      <a:pt x="91" y="748"/>
                    </a:lnTo>
                    <a:lnTo>
                      <a:pt x="84" y="763"/>
                    </a:lnTo>
                    <a:lnTo>
                      <a:pt x="67" y="780"/>
                    </a:lnTo>
                    <a:lnTo>
                      <a:pt x="45" y="799"/>
                    </a:lnTo>
                    <a:lnTo>
                      <a:pt x="34" y="819"/>
                    </a:lnTo>
                    <a:lnTo>
                      <a:pt x="45" y="853"/>
                    </a:lnTo>
                    <a:lnTo>
                      <a:pt x="67" y="889"/>
                    </a:lnTo>
                    <a:lnTo>
                      <a:pt x="78" y="916"/>
                    </a:lnTo>
                    <a:lnTo>
                      <a:pt x="80" y="937"/>
                    </a:lnTo>
                    <a:lnTo>
                      <a:pt x="73" y="948"/>
                    </a:lnTo>
                    <a:lnTo>
                      <a:pt x="51" y="948"/>
                    </a:lnTo>
                    <a:lnTo>
                      <a:pt x="45" y="995"/>
                    </a:lnTo>
                    <a:lnTo>
                      <a:pt x="58" y="1025"/>
                    </a:lnTo>
                    <a:lnTo>
                      <a:pt x="70" y="1047"/>
                    </a:lnTo>
                    <a:lnTo>
                      <a:pt x="73" y="1066"/>
                    </a:lnTo>
                    <a:lnTo>
                      <a:pt x="73" y="1084"/>
                    </a:lnTo>
                    <a:lnTo>
                      <a:pt x="51" y="1111"/>
                    </a:lnTo>
                    <a:lnTo>
                      <a:pt x="21" y="1149"/>
                    </a:lnTo>
                    <a:lnTo>
                      <a:pt x="2" y="1135"/>
                    </a:lnTo>
                    <a:lnTo>
                      <a:pt x="8" y="1105"/>
                    </a:lnTo>
                    <a:lnTo>
                      <a:pt x="38" y="1057"/>
                    </a:lnTo>
                    <a:lnTo>
                      <a:pt x="34" y="1027"/>
                    </a:lnTo>
                    <a:lnTo>
                      <a:pt x="21" y="993"/>
                    </a:lnTo>
                    <a:lnTo>
                      <a:pt x="13" y="963"/>
                    </a:lnTo>
                    <a:lnTo>
                      <a:pt x="26" y="937"/>
                    </a:lnTo>
                    <a:lnTo>
                      <a:pt x="38" y="929"/>
                    </a:lnTo>
                    <a:lnTo>
                      <a:pt x="40" y="910"/>
                    </a:lnTo>
                    <a:lnTo>
                      <a:pt x="26" y="873"/>
                    </a:lnTo>
                    <a:lnTo>
                      <a:pt x="8" y="840"/>
                    </a:lnTo>
                    <a:lnTo>
                      <a:pt x="0" y="808"/>
                    </a:lnTo>
                    <a:lnTo>
                      <a:pt x="8" y="769"/>
                    </a:lnTo>
                    <a:lnTo>
                      <a:pt x="38" y="755"/>
                    </a:lnTo>
                    <a:lnTo>
                      <a:pt x="48" y="737"/>
                    </a:lnTo>
                    <a:lnTo>
                      <a:pt x="45" y="712"/>
                    </a:lnTo>
                    <a:lnTo>
                      <a:pt x="38" y="685"/>
                    </a:lnTo>
                    <a:lnTo>
                      <a:pt x="27" y="652"/>
                    </a:lnTo>
                    <a:lnTo>
                      <a:pt x="27" y="625"/>
                    </a:lnTo>
                    <a:lnTo>
                      <a:pt x="40" y="608"/>
                    </a:lnTo>
                    <a:lnTo>
                      <a:pt x="58" y="587"/>
                    </a:lnTo>
                    <a:lnTo>
                      <a:pt x="58" y="574"/>
                    </a:lnTo>
                    <a:lnTo>
                      <a:pt x="45" y="544"/>
                    </a:lnTo>
                    <a:lnTo>
                      <a:pt x="19" y="505"/>
                    </a:lnTo>
                    <a:lnTo>
                      <a:pt x="8" y="476"/>
                    </a:lnTo>
                    <a:lnTo>
                      <a:pt x="8" y="454"/>
                    </a:lnTo>
                    <a:lnTo>
                      <a:pt x="15" y="432"/>
                    </a:lnTo>
                    <a:lnTo>
                      <a:pt x="32" y="414"/>
                    </a:lnTo>
                    <a:lnTo>
                      <a:pt x="48" y="395"/>
                    </a:lnTo>
                    <a:lnTo>
                      <a:pt x="48" y="380"/>
                    </a:lnTo>
                    <a:lnTo>
                      <a:pt x="13" y="310"/>
                    </a:lnTo>
                    <a:lnTo>
                      <a:pt x="6" y="283"/>
                    </a:lnTo>
                    <a:lnTo>
                      <a:pt x="0" y="259"/>
                    </a:lnTo>
                    <a:lnTo>
                      <a:pt x="13" y="238"/>
                    </a:lnTo>
                    <a:lnTo>
                      <a:pt x="27" y="221"/>
                    </a:lnTo>
                    <a:lnTo>
                      <a:pt x="40" y="208"/>
                    </a:lnTo>
                    <a:lnTo>
                      <a:pt x="40" y="196"/>
                    </a:lnTo>
                    <a:lnTo>
                      <a:pt x="27" y="175"/>
                    </a:lnTo>
                    <a:lnTo>
                      <a:pt x="8" y="155"/>
                    </a:lnTo>
                    <a:lnTo>
                      <a:pt x="8" y="134"/>
                    </a:lnTo>
                    <a:lnTo>
                      <a:pt x="21" y="115"/>
                    </a:lnTo>
                    <a:lnTo>
                      <a:pt x="40" y="98"/>
                    </a:lnTo>
                    <a:lnTo>
                      <a:pt x="58" y="90"/>
                    </a:lnTo>
                    <a:lnTo>
                      <a:pt x="67" y="77"/>
                    </a:lnTo>
                    <a:lnTo>
                      <a:pt x="60" y="60"/>
                    </a:lnTo>
                    <a:lnTo>
                      <a:pt x="48" y="41"/>
                    </a:lnTo>
                    <a:lnTo>
                      <a:pt x="40" y="2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3" name="Freeform 354"/>
              <p:cNvSpPr>
                <a:spLocks/>
              </p:cNvSpPr>
              <p:nvPr/>
            </p:nvSpPr>
            <p:spPr bwMode="auto">
              <a:xfrm>
                <a:off x="5040" y="1150"/>
                <a:ext cx="25" cy="232"/>
              </a:xfrm>
              <a:custGeom>
                <a:avLst/>
                <a:gdLst>
                  <a:gd name="T0" fmla="*/ 90 w 101"/>
                  <a:gd name="T1" fmla="*/ 25 h 929"/>
                  <a:gd name="T2" fmla="*/ 95 w 101"/>
                  <a:gd name="T3" fmla="*/ 90 h 929"/>
                  <a:gd name="T4" fmla="*/ 52 w 101"/>
                  <a:gd name="T5" fmla="*/ 116 h 929"/>
                  <a:gd name="T6" fmla="*/ 65 w 101"/>
                  <a:gd name="T7" fmla="*/ 187 h 929"/>
                  <a:gd name="T8" fmla="*/ 84 w 101"/>
                  <a:gd name="T9" fmla="*/ 255 h 929"/>
                  <a:gd name="T10" fmla="*/ 58 w 101"/>
                  <a:gd name="T11" fmla="*/ 290 h 929"/>
                  <a:gd name="T12" fmla="*/ 65 w 101"/>
                  <a:gd name="T13" fmla="*/ 348 h 929"/>
                  <a:gd name="T14" fmla="*/ 84 w 101"/>
                  <a:gd name="T15" fmla="*/ 410 h 929"/>
                  <a:gd name="T16" fmla="*/ 71 w 101"/>
                  <a:gd name="T17" fmla="*/ 456 h 929"/>
                  <a:gd name="T18" fmla="*/ 50 w 101"/>
                  <a:gd name="T19" fmla="*/ 497 h 929"/>
                  <a:gd name="T20" fmla="*/ 77 w 101"/>
                  <a:gd name="T21" fmla="*/ 578 h 929"/>
                  <a:gd name="T22" fmla="*/ 84 w 101"/>
                  <a:gd name="T23" fmla="*/ 632 h 929"/>
                  <a:gd name="T24" fmla="*/ 36 w 101"/>
                  <a:gd name="T25" fmla="*/ 671 h 929"/>
                  <a:gd name="T26" fmla="*/ 50 w 101"/>
                  <a:gd name="T27" fmla="*/ 752 h 929"/>
                  <a:gd name="T28" fmla="*/ 63 w 101"/>
                  <a:gd name="T29" fmla="*/ 823 h 929"/>
                  <a:gd name="T30" fmla="*/ 36 w 101"/>
                  <a:gd name="T31" fmla="*/ 864 h 929"/>
                  <a:gd name="T32" fmla="*/ 24 w 101"/>
                  <a:gd name="T33" fmla="*/ 920 h 929"/>
                  <a:gd name="T34" fmla="*/ 11 w 101"/>
                  <a:gd name="T35" fmla="*/ 896 h 929"/>
                  <a:gd name="T36" fmla="*/ 36 w 101"/>
                  <a:gd name="T37" fmla="*/ 831 h 929"/>
                  <a:gd name="T38" fmla="*/ 24 w 101"/>
                  <a:gd name="T39" fmla="*/ 735 h 929"/>
                  <a:gd name="T40" fmla="*/ 17 w 101"/>
                  <a:gd name="T41" fmla="*/ 665 h 929"/>
                  <a:gd name="T42" fmla="*/ 52 w 101"/>
                  <a:gd name="T43" fmla="*/ 617 h 929"/>
                  <a:gd name="T44" fmla="*/ 24 w 101"/>
                  <a:gd name="T45" fmla="*/ 548 h 929"/>
                  <a:gd name="T46" fmla="*/ 17 w 101"/>
                  <a:gd name="T47" fmla="*/ 483 h 929"/>
                  <a:gd name="T48" fmla="*/ 44 w 101"/>
                  <a:gd name="T49" fmla="*/ 432 h 929"/>
                  <a:gd name="T50" fmla="*/ 56 w 101"/>
                  <a:gd name="T51" fmla="*/ 393 h 929"/>
                  <a:gd name="T52" fmla="*/ 30 w 101"/>
                  <a:gd name="T53" fmla="*/ 328 h 929"/>
                  <a:gd name="T54" fmla="*/ 36 w 101"/>
                  <a:gd name="T55" fmla="*/ 274 h 929"/>
                  <a:gd name="T56" fmla="*/ 52 w 101"/>
                  <a:gd name="T57" fmla="*/ 236 h 929"/>
                  <a:gd name="T58" fmla="*/ 33 w 101"/>
                  <a:gd name="T59" fmla="*/ 178 h 929"/>
                  <a:gd name="T60" fmla="*/ 26 w 101"/>
                  <a:gd name="T61" fmla="*/ 114 h 929"/>
                  <a:gd name="T62" fmla="*/ 56 w 101"/>
                  <a:gd name="T63" fmla="*/ 70 h 929"/>
                  <a:gd name="T64" fmla="*/ 58 w 101"/>
                  <a:gd name="T65" fmla="*/ 30 h 929"/>
                  <a:gd name="T66" fmla="*/ 77 w 101"/>
                  <a:gd name="T67" fmla="*/ 0 h 9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1"/>
                  <a:gd name="T103" fmla="*/ 0 h 929"/>
                  <a:gd name="T104" fmla="*/ 101 w 101"/>
                  <a:gd name="T105" fmla="*/ 929 h 9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1" h="929">
                    <a:moveTo>
                      <a:pt x="77" y="0"/>
                    </a:moveTo>
                    <a:lnTo>
                      <a:pt x="90" y="25"/>
                    </a:lnTo>
                    <a:lnTo>
                      <a:pt x="101" y="70"/>
                    </a:lnTo>
                    <a:lnTo>
                      <a:pt x="95" y="90"/>
                    </a:lnTo>
                    <a:lnTo>
                      <a:pt x="69" y="103"/>
                    </a:lnTo>
                    <a:lnTo>
                      <a:pt x="52" y="116"/>
                    </a:lnTo>
                    <a:lnTo>
                      <a:pt x="52" y="152"/>
                    </a:lnTo>
                    <a:lnTo>
                      <a:pt x="65" y="187"/>
                    </a:lnTo>
                    <a:lnTo>
                      <a:pt x="82" y="211"/>
                    </a:lnTo>
                    <a:lnTo>
                      <a:pt x="84" y="255"/>
                    </a:lnTo>
                    <a:lnTo>
                      <a:pt x="75" y="271"/>
                    </a:lnTo>
                    <a:lnTo>
                      <a:pt x="58" y="290"/>
                    </a:lnTo>
                    <a:lnTo>
                      <a:pt x="56" y="320"/>
                    </a:lnTo>
                    <a:lnTo>
                      <a:pt x="65" y="348"/>
                    </a:lnTo>
                    <a:lnTo>
                      <a:pt x="77" y="372"/>
                    </a:lnTo>
                    <a:lnTo>
                      <a:pt x="84" y="410"/>
                    </a:lnTo>
                    <a:lnTo>
                      <a:pt x="84" y="432"/>
                    </a:lnTo>
                    <a:lnTo>
                      <a:pt x="71" y="456"/>
                    </a:lnTo>
                    <a:lnTo>
                      <a:pt x="50" y="477"/>
                    </a:lnTo>
                    <a:lnTo>
                      <a:pt x="50" y="497"/>
                    </a:lnTo>
                    <a:lnTo>
                      <a:pt x="56" y="554"/>
                    </a:lnTo>
                    <a:lnTo>
                      <a:pt x="77" y="578"/>
                    </a:lnTo>
                    <a:lnTo>
                      <a:pt x="90" y="603"/>
                    </a:lnTo>
                    <a:lnTo>
                      <a:pt x="84" y="632"/>
                    </a:lnTo>
                    <a:lnTo>
                      <a:pt x="52" y="651"/>
                    </a:lnTo>
                    <a:lnTo>
                      <a:pt x="36" y="671"/>
                    </a:lnTo>
                    <a:lnTo>
                      <a:pt x="33" y="707"/>
                    </a:lnTo>
                    <a:lnTo>
                      <a:pt x="50" y="752"/>
                    </a:lnTo>
                    <a:lnTo>
                      <a:pt x="63" y="798"/>
                    </a:lnTo>
                    <a:lnTo>
                      <a:pt x="63" y="823"/>
                    </a:lnTo>
                    <a:lnTo>
                      <a:pt x="56" y="858"/>
                    </a:lnTo>
                    <a:lnTo>
                      <a:pt x="36" y="864"/>
                    </a:lnTo>
                    <a:lnTo>
                      <a:pt x="24" y="890"/>
                    </a:lnTo>
                    <a:lnTo>
                      <a:pt x="24" y="920"/>
                    </a:lnTo>
                    <a:lnTo>
                      <a:pt x="0" y="929"/>
                    </a:lnTo>
                    <a:lnTo>
                      <a:pt x="11" y="896"/>
                    </a:lnTo>
                    <a:lnTo>
                      <a:pt x="30" y="858"/>
                    </a:lnTo>
                    <a:lnTo>
                      <a:pt x="36" y="831"/>
                    </a:lnTo>
                    <a:lnTo>
                      <a:pt x="36" y="780"/>
                    </a:lnTo>
                    <a:lnTo>
                      <a:pt x="24" y="735"/>
                    </a:lnTo>
                    <a:lnTo>
                      <a:pt x="20" y="701"/>
                    </a:lnTo>
                    <a:lnTo>
                      <a:pt x="17" y="665"/>
                    </a:lnTo>
                    <a:lnTo>
                      <a:pt x="39" y="636"/>
                    </a:lnTo>
                    <a:lnTo>
                      <a:pt x="52" y="617"/>
                    </a:lnTo>
                    <a:lnTo>
                      <a:pt x="44" y="578"/>
                    </a:lnTo>
                    <a:lnTo>
                      <a:pt x="24" y="548"/>
                    </a:lnTo>
                    <a:lnTo>
                      <a:pt x="20" y="522"/>
                    </a:lnTo>
                    <a:lnTo>
                      <a:pt x="17" y="483"/>
                    </a:lnTo>
                    <a:lnTo>
                      <a:pt x="26" y="458"/>
                    </a:lnTo>
                    <a:lnTo>
                      <a:pt x="44" y="432"/>
                    </a:lnTo>
                    <a:lnTo>
                      <a:pt x="56" y="412"/>
                    </a:lnTo>
                    <a:lnTo>
                      <a:pt x="56" y="393"/>
                    </a:lnTo>
                    <a:lnTo>
                      <a:pt x="44" y="372"/>
                    </a:lnTo>
                    <a:lnTo>
                      <a:pt x="30" y="328"/>
                    </a:lnTo>
                    <a:lnTo>
                      <a:pt x="30" y="301"/>
                    </a:lnTo>
                    <a:lnTo>
                      <a:pt x="36" y="274"/>
                    </a:lnTo>
                    <a:lnTo>
                      <a:pt x="50" y="255"/>
                    </a:lnTo>
                    <a:lnTo>
                      <a:pt x="52" y="236"/>
                    </a:lnTo>
                    <a:lnTo>
                      <a:pt x="50" y="212"/>
                    </a:lnTo>
                    <a:lnTo>
                      <a:pt x="33" y="178"/>
                    </a:lnTo>
                    <a:lnTo>
                      <a:pt x="24" y="154"/>
                    </a:lnTo>
                    <a:lnTo>
                      <a:pt x="26" y="114"/>
                    </a:lnTo>
                    <a:lnTo>
                      <a:pt x="39" y="97"/>
                    </a:lnTo>
                    <a:lnTo>
                      <a:pt x="56" y="70"/>
                    </a:lnTo>
                    <a:lnTo>
                      <a:pt x="65" y="49"/>
                    </a:lnTo>
                    <a:lnTo>
                      <a:pt x="58" y="30"/>
                    </a:lnTo>
                    <a:lnTo>
                      <a:pt x="63" y="10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" name="Freeform 355"/>
              <p:cNvSpPr>
                <a:spLocks/>
              </p:cNvSpPr>
              <p:nvPr/>
            </p:nvSpPr>
            <p:spPr bwMode="auto">
              <a:xfrm>
                <a:off x="4999" y="1122"/>
                <a:ext cx="58" cy="50"/>
              </a:xfrm>
              <a:custGeom>
                <a:avLst/>
                <a:gdLst>
                  <a:gd name="T0" fmla="*/ 232 w 232"/>
                  <a:gd name="T1" fmla="*/ 161 h 199"/>
                  <a:gd name="T2" fmla="*/ 161 w 232"/>
                  <a:gd name="T3" fmla="*/ 103 h 199"/>
                  <a:gd name="T4" fmla="*/ 102 w 232"/>
                  <a:gd name="T5" fmla="*/ 52 h 199"/>
                  <a:gd name="T6" fmla="*/ 50 w 232"/>
                  <a:gd name="T7" fmla="*/ 0 h 199"/>
                  <a:gd name="T8" fmla="*/ 0 w 232"/>
                  <a:gd name="T9" fmla="*/ 0 h 199"/>
                  <a:gd name="T10" fmla="*/ 116 w 232"/>
                  <a:gd name="T11" fmla="*/ 84 h 199"/>
                  <a:gd name="T12" fmla="*/ 171 w 232"/>
                  <a:gd name="T13" fmla="*/ 135 h 199"/>
                  <a:gd name="T14" fmla="*/ 219 w 232"/>
                  <a:gd name="T15" fmla="*/ 199 h 199"/>
                  <a:gd name="T16" fmla="*/ 232 w 232"/>
                  <a:gd name="T17" fmla="*/ 161 h 19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2"/>
                  <a:gd name="T28" fmla="*/ 0 h 199"/>
                  <a:gd name="T29" fmla="*/ 232 w 232"/>
                  <a:gd name="T30" fmla="*/ 199 h 19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2" h="199">
                    <a:moveTo>
                      <a:pt x="232" y="161"/>
                    </a:moveTo>
                    <a:lnTo>
                      <a:pt x="161" y="103"/>
                    </a:lnTo>
                    <a:lnTo>
                      <a:pt x="102" y="52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116" y="84"/>
                    </a:lnTo>
                    <a:lnTo>
                      <a:pt x="171" y="135"/>
                    </a:lnTo>
                    <a:lnTo>
                      <a:pt x="219" y="199"/>
                    </a:lnTo>
                    <a:lnTo>
                      <a:pt x="232" y="16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" name="Freeform 356"/>
              <p:cNvSpPr>
                <a:spLocks/>
              </p:cNvSpPr>
              <p:nvPr/>
            </p:nvSpPr>
            <p:spPr bwMode="auto">
              <a:xfrm>
                <a:off x="4998" y="1151"/>
                <a:ext cx="51" cy="41"/>
              </a:xfrm>
              <a:custGeom>
                <a:avLst/>
                <a:gdLst>
                  <a:gd name="T0" fmla="*/ 200 w 200"/>
                  <a:gd name="T1" fmla="*/ 103 h 165"/>
                  <a:gd name="T2" fmla="*/ 149 w 200"/>
                  <a:gd name="T3" fmla="*/ 84 h 165"/>
                  <a:gd name="T4" fmla="*/ 110 w 200"/>
                  <a:gd name="T5" fmla="*/ 52 h 165"/>
                  <a:gd name="T6" fmla="*/ 40 w 200"/>
                  <a:gd name="T7" fmla="*/ 0 h 165"/>
                  <a:gd name="T8" fmla="*/ 0 w 200"/>
                  <a:gd name="T9" fmla="*/ 0 h 165"/>
                  <a:gd name="T10" fmla="*/ 91 w 200"/>
                  <a:gd name="T11" fmla="*/ 52 h 165"/>
                  <a:gd name="T12" fmla="*/ 126 w 200"/>
                  <a:gd name="T13" fmla="*/ 87 h 165"/>
                  <a:gd name="T14" fmla="*/ 200 w 200"/>
                  <a:gd name="T15" fmla="*/ 165 h 165"/>
                  <a:gd name="T16" fmla="*/ 197 w 200"/>
                  <a:gd name="T17" fmla="*/ 117 h 165"/>
                  <a:gd name="T18" fmla="*/ 200 w 200"/>
                  <a:gd name="T19" fmla="*/ 103 h 16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0"/>
                  <a:gd name="T31" fmla="*/ 0 h 165"/>
                  <a:gd name="T32" fmla="*/ 200 w 200"/>
                  <a:gd name="T33" fmla="*/ 165 h 16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0" h="165">
                    <a:moveTo>
                      <a:pt x="200" y="103"/>
                    </a:moveTo>
                    <a:lnTo>
                      <a:pt x="149" y="84"/>
                    </a:lnTo>
                    <a:lnTo>
                      <a:pt x="110" y="5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91" y="52"/>
                    </a:lnTo>
                    <a:lnTo>
                      <a:pt x="126" y="87"/>
                    </a:lnTo>
                    <a:lnTo>
                      <a:pt x="200" y="165"/>
                    </a:lnTo>
                    <a:lnTo>
                      <a:pt x="197" y="117"/>
                    </a:lnTo>
                    <a:lnTo>
                      <a:pt x="200" y="1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6" name="Freeform 357"/>
              <p:cNvSpPr>
                <a:spLocks/>
              </p:cNvSpPr>
              <p:nvPr/>
            </p:nvSpPr>
            <p:spPr bwMode="auto">
              <a:xfrm>
                <a:off x="4991" y="1175"/>
                <a:ext cx="59" cy="63"/>
              </a:xfrm>
              <a:custGeom>
                <a:avLst/>
                <a:gdLst>
                  <a:gd name="T0" fmla="*/ 232 w 236"/>
                  <a:gd name="T1" fmla="*/ 190 h 255"/>
                  <a:gd name="T2" fmla="*/ 167 w 236"/>
                  <a:gd name="T3" fmla="*/ 132 h 255"/>
                  <a:gd name="T4" fmla="*/ 142 w 236"/>
                  <a:gd name="T5" fmla="*/ 93 h 255"/>
                  <a:gd name="T6" fmla="*/ 90 w 236"/>
                  <a:gd name="T7" fmla="*/ 54 h 255"/>
                  <a:gd name="T8" fmla="*/ 44 w 236"/>
                  <a:gd name="T9" fmla="*/ 20 h 255"/>
                  <a:gd name="T10" fmla="*/ 12 w 236"/>
                  <a:gd name="T11" fmla="*/ 0 h 255"/>
                  <a:gd name="T12" fmla="*/ 0 w 236"/>
                  <a:gd name="T13" fmla="*/ 0 h 255"/>
                  <a:gd name="T14" fmla="*/ 0 w 236"/>
                  <a:gd name="T15" fmla="*/ 20 h 255"/>
                  <a:gd name="T16" fmla="*/ 38 w 236"/>
                  <a:gd name="T17" fmla="*/ 46 h 255"/>
                  <a:gd name="T18" fmla="*/ 109 w 236"/>
                  <a:gd name="T19" fmla="*/ 90 h 255"/>
                  <a:gd name="T20" fmla="*/ 161 w 236"/>
                  <a:gd name="T21" fmla="*/ 143 h 255"/>
                  <a:gd name="T22" fmla="*/ 197 w 236"/>
                  <a:gd name="T23" fmla="*/ 201 h 255"/>
                  <a:gd name="T24" fmla="*/ 236 w 236"/>
                  <a:gd name="T25" fmla="*/ 255 h 255"/>
                  <a:gd name="T26" fmla="*/ 232 w 236"/>
                  <a:gd name="T27" fmla="*/ 190 h 25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6"/>
                  <a:gd name="T43" fmla="*/ 0 h 255"/>
                  <a:gd name="T44" fmla="*/ 236 w 236"/>
                  <a:gd name="T45" fmla="*/ 255 h 25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6" h="255">
                    <a:moveTo>
                      <a:pt x="232" y="190"/>
                    </a:moveTo>
                    <a:lnTo>
                      <a:pt x="167" y="132"/>
                    </a:lnTo>
                    <a:lnTo>
                      <a:pt x="142" y="93"/>
                    </a:lnTo>
                    <a:lnTo>
                      <a:pt x="90" y="54"/>
                    </a:lnTo>
                    <a:lnTo>
                      <a:pt x="44" y="2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38" y="46"/>
                    </a:lnTo>
                    <a:lnTo>
                      <a:pt x="109" y="90"/>
                    </a:lnTo>
                    <a:lnTo>
                      <a:pt x="161" y="143"/>
                    </a:lnTo>
                    <a:lnTo>
                      <a:pt x="197" y="201"/>
                    </a:lnTo>
                    <a:lnTo>
                      <a:pt x="236" y="255"/>
                    </a:lnTo>
                    <a:lnTo>
                      <a:pt x="232" y="1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7" name="Freeform 358"/>
              <p:cNvSpPr>
                <a:spLocks/>
              </p:cNvSpPr>
              <p:nvPr/>
            </p:nvSpPr>
            <p:spPr bwMode="auto">
              <a:xfrm>
                <a:off x="4997" y="1227"/>
                <a:ext cx="46" cy="37"/>
              </a:xfrm>
              <a:custGeom>
                <a:avLst/>
                <a:gdLst>
                  <a:gd name="T0" fmla="*/ 183 w 183"/>
                  <a:gd name="T1" fmla="*/ 122 h 149"/>
                  <a:gd name="T2" fmla="*/ 132 w 183"/>
                  <a:gd name="T3" fmla="*/ 67 h 149"/>
                  <a:gd name="T4" fmla="*/ 78 w 183"/>
                  <a:gd name="T5" fmla="*/ 32 h 149"/>
                  <a:gd name="T6" fmla="*/ 32 w 183"/>
                  <a:gd name="T7" fmla="*/ 8 h 149"/>
                  <a:gd name="T8" fmla="*/ 0 w 183"/>
                  <a:gd name="T9" fmla="*/ 0 h 149"/>
                  <a:gd name="T10" fmla="*/ 20 w 183"/>
                  <a:gd name="T11" fmla="*/ 32 h 149"/>
                  <a:gd name="T12" fmla="*/ 78 w 183"/>
                  <a:gd name="T13" fmla="*/ 65 h 149"/>
                  <a:gd name="T14" fmla="*/ 123 w 183"/>
                  <a:gd name="T15" fmla="*/ 112 h 149"/>
                  <a:gd name="T16" fmla="*/ 145 w 183"/>
                  <a:gd name="T17" fmla="*/ 143 h 149"/>
                  <a:gd name="T18" fmla="*/ 164 w 183"/>
                  <a:gd name="T19" fmla="*/ 149 h 149"/>
                  <a:gd name="T20" fmla="*/ 182 w 183"/>
                  <a:gd name="T21" fmla="*/ 138 h 149"/>
                  <a:gd name="T22" fmla="*/ 183 w 183"/>
                  <a:gd name="T23" fmla="*/ 122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3"/>
                  <a:gd name="T37" fmla="*/ 0 h 149"/>
                  <a:gd name="T38" fmla="*/ 183 w 183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3" h="149">
                    <a:moveTo>
                      <a:pt x="183" y="122"/>
                    </a:moveTo>
                    <a:lnTo>
                      <a:pt x="132" y="67"/>
                    </a:lnTo>
                    <a:lnTo>
                      <a:pt x="78" y="32"/>
                    </a:lnTo>
                    <a:lnTo>
                      <a:pt x="32" y="8"/>
                    </a:lnTo>
                    <a:lnTo>
                      <a:pt x="0" y="0"/>
                    </a:lnTo>
                    <a:lnTo>
                      <a:pt x="20" y="32"/>
                    </a:lnTo>
                    <a:lnTo>
                      <a:pt x="78" y="65"/>
                    </a:lnTo>
                    <a:lnTo>
                      <a:pt x="123" y="112"/>
                    </a:lnTo>
                    <a:lnTo>
                      <a:pt x="145" y="143"/>
                    </a:lnTo>
                    <a:lnTo>
                      <a:pt x="164" y="149"/>
                    </a:lnTo>
                    <a:lnTo>
                      <a:pt x="182" y="138"/>
                    </a:lnTo>
                    <a:lnTo>
                      <a:pt x="183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8" name="Freeform 359"/>
              <p:cNvSpPr>
                <a:spLocks/>
              </p:cNvSpPr>
              <p:nvPr/>
            </p:nvSpPr>
            <p:spPr bwMode="auto">
              <a:xfrm>
                <a:off x="4991" y="1253"/>
                <a:ext cx="51" cy="46"/>
              </a:xfrm>
              <a:custGeom>
                <a:avLst/>
                <a:gdLst>
                  <a:gd name="T0" fmla="*/ 203 w 203"/>
                  <a:gd name="T1" fmla="*/ 172 h 185"/>
                  <a:gd name="T2" fmla="*/ 150 w 203"/>
                  <a:gd name="T3" fmla="*/ 117 h 185"/>
                  <a:gd name="T4" fmla="*/ 85 w 203"/>
                  <a:gd name="T5" fmla="*/ 50 h 185"/>
                  <a:gd name="T6" fmla="*/ 47 w 203"/>
                  <a:gd name="T7" fmla="*/ 17 h 185"/>
                  <a:gd name="T8" fmla="*/ 17 w 203"/>
                  <a:gd name="T9" fmla="*/ 0 h 185"/>
                  <a:gd name="T10" fmla="*/ 0 w 203"/>
                  <a:gd name="T11" fmla="*/ 11 h 185"/>
                  <a:gd name="T12" fmla="*/ 34 w 203"/>
                  <a:gd name="T13" fmla="*/ 39 h 185"/>
                  <a:gd name="T14" fmla="*/ 93 w 203"/>
                  <a:gd name="T15" fmla="*/ 98 h 185"/>
                  <a:gd name="T16" fmla="*/ 147 w 203"/>
                  <a:gd name="T17" fmla="*/ 155 h 185"/>
                  <a:gd name="T18" fmla="*/ 183 w 203"/>
                  <a:gd name="T19" fmla="*/ 185 h 185"/>
                  <a:gd name="T20" fmla="*/ 192 w 203"/>
                  <a:gd name="T21" fmla="*/ 185 h 185"/>
                  <a:gd name="T22" fmla="*/ 203 w 203"/>
                  <a:gd name="T23" fmla="*/ 172 h 1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3"/>
                  <a:gd name="T37" fmla="*/ 0 h 185"/>
                  <a:gd name="T38" fmla="*/ 203 w 203"/>
                  <a:gd name="T39" fmla="*/ 185 h 1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3" h="185">
                    <a:moveTo>
                      <a:pt x="203" y="172"/>
                    </a:moveTo>
                    <a:lnTo>
                      <a:pt x="150" y="117"/>
                    </a:lnTo>
                    <a:lnTo>
                      <a:pt x="85" y="50"/>
                    </a:lnTo>
                    <a:lnTo>
                      <a:pt x="47" y="17"/>
                    </a:lnTo>
                    <a:lnTo>
                      <a:pt x="17" y="0"/>
                    </a:lnTo>
                    <a:lnTo>
                      <a:pt x="0" y="11"/>
                    </a:lnTo>
                    <a:lnTo>
                      <a:pt x="34" y="39"/>
                    </a:lnTo>
                    <a:lnTo>
                      <a:pt x="93" y="98"/>
                    </a:lnTo>
                    <a:lnTo>
                      <a:pt x="147" y="155"/>
                    </a:lnTo>
                    <a:lnTo>
                      <a:pt x="183" y="185"/>
                    </a:lnTo>
                    <a:lnTo>
                      <a:pt x="192" y="185"/>
                    </a:lnTo>
                    <a:lnTo>
                      <a:pt x="203" y="17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" name="Freeform 360"/>
              <p:cNvSpPr>
                <a:spLocks/>
              </p:cNvSpPr>
              <p:nvPr/>
            </p:nvSpPr>
            <p:spPr bwMode="auto">
              <a:xfrm>
                <a:off x="4997" y="1292"/>
                <a:ext cx="36" cy="36"/>
              </a:xfrm>
              <a:custGeom>
                <a:avLst/>
                <a:gdLst>
                  <a:gd name="T0" fmla="*/ 141 w 143"/>
                  <a:gd name="T1" fmla="*/ 123 h 147"/>
                  <a:gd name="T2" fmla="*/ 82 w 143"/>
                  <a:gd name="T3" fmla="*/ 38 h 147"/>
                  <a:gd name="T4" fmla="*/ 25 w 143"/>
                  <a:gd name="T5" fmla="*/ 5 h 147"/>
                  <a:gd name="T6" fmla="*/ 0 w 143"/>
                  <a:gd name="T7" fmla="*/ 0 h 147"/>
                  <a:gd name="T8" fmla="*/ 6 w 143"/>
                  <a:gd name="T9" fmla="*/ 17 h 147"/>
                  <a:gd name="T10" fmla="*/ 71 w 143"/>
                  <a:gd name="T11" fmla="*/ 65 h 147"/>
                  <a:gd name="T12" fmla="*/ 133 w 143"/>
                  <a:gd name="T13" fmla="*/ 141 h 147"/>
                  <a:gd name="T14" fmla="*/ 143 w 143"/>
                  <a:gd name="T15" fmla="*/ 147 h 147"/>
                  <a:gd name="T16" fmla="*/ 141 w 143"/>
                  <a:gd name="T17" fmla="*/ 123 h 1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3"/>
                  <a:gd name="T28" fmla="*/ 0 h 147"/>
                  <a:gd name="T29" fmla="*/ 143 w 143"/>
                  <a:gd name="T30" fmla="*/ 147 h 1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3" h="147">
                    <a:moveTo>
                      <a:pt x="141" y="123"/>
                    </a:moveTo>
                    <a:lnTo>
                      <a:pt x="82" y="38"/>
                    </a:lnTo>
                    <a:lnTo>
                      <a:pt x="25" y="5"/>
                    </a:lnTo>
                    <a:lnTo>
                      <a:pt x="0" y="0"/>
                    </a:lnTo>
                    <a:lnTo>
                      <a:pt x="6" y="17"/>
                    </a:lnTo>
                    <a:lnTo>
                      <a:pt x="71" y="65"/>
                    </a:lnTo>
                    <a:lnTo>
                      <a:pt x="133" y="141"/>
                    </a:lnTo>
                    <a:lnTo>
                      <a:pt x="143" y="147"/>
                    </a:lnTo>
                    <a:lnTo>
                      <a:pt x="141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0" name="Freeform 361"/>
              <p:cNvSpPr>
                <a:spLocks/>
              </p:cNvSpPr>
              <p:nvPr/>
            </p:nvSpPr>
            <p:spPr bwMode="auto">
              <a:xfrm>
                <a:off x="4999" y="1327"/>
                <a:ext cx="24" cy="28"/>
              </a:xfrm>
              <a:custGeom>
                <a:avLst/>
                <a:gdLst>
                  <a:gd name="T0" fmla="*/ 91 w 96"/>
                  <a:gd name="T1" fmla="*/ 84 h 111"/>
                  <a:gd name="T2" fmla="*/ 45 w 96"/>
                  <a:gd name="T3" fmla="*/ 19 h 111"/>
                  <a:gd name="T4" fmla="*/ 2 w 96"/>
                  <a:gd name="T5" fmla="*/ 0 h 111"/>
                  <a:gd name="T6" fmla="*/ 0 w 96"/>
                  <a:gd name="T7" fmla="*/ 19 h 111"/>
                  <a:gd name="T8" fmla="*/ 19 w 96"/>
                  <a:gd name="T9" fmla="*/ 52 h 111"/>
                  <a:gd name="T10" fmla="*/ 71 w 96"/>
                  <a:gd name="T11" fmla="*/ 95 h 111"/>
                  <a:gd name="T12" fmla="*/ 85 w 96"/>
                  <a:gd name="T13" fmla="*/ 111 h 111"/>
                  <a:gd name="T14" fmla="*/ 96 w 96"/>
                  <a:gd name="T15" fmla="*/ 103 h 111"/>
                  <a:gd name="T16" fmla="*/ 91 w 96"/>
                  <a:gd name="T17" fmla="*/ 84 h 1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6"/>
                  <a:gd name="T28" fmla="*/ 0 h 111"/>
                  <a:gd name="T29" fmla="*/ 96 w 96"/>
                  <a:gd name="T30" fmla="*/ 111 h 1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6" h="111">
                    <a:moveTo>
                      <a:pt x="91" y="84"/>
                    </a:moveTo>
                    <a:lnTo>
                      <a:pt x="45" y="19"/>
                    </a:lnTo>
                    <a:lnTo>
                      <a:pt x="2" y="0"/>
                    </a:lnTo>
                    <a:lnTo>
                      <a:pt x="0" y="19"/>
                    </a:lnTo>
                    <a:lnTo>
                      <a:pt x="19" y="52"/>
                    </a:lnTo>
                    <a:lnTo>
                      <a:pt x="71" y="95"/>
                    </a:lnTo>
                    <a:lnTo>
                      <a:pt x="85" y="111"/>
                    </a:lnTo>
                    <a:lnTo>
                      <a:pt x="96" y="103"/>
                    </a:lnTo>
                    <a:lnTo>
                      <a:pt x="91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1" name="Freeform 362"/>
              <p:cNvSpPr>
                <a:spLocks/>
              </p:cNvSpPr>
              <p:nvPr/>
            </p:nvSpPr>
            <p:spPr bwMode="auto">
              <a:xfrm>
                <a:off x="5000" y="1364"/>
                <a:ext cx="31" cy="31"/>
              </a:xfrm>
              <a:custGeom>
                <a:avLst/>
                <a:gdLst>
                  <a:gd name="T0" fmla="*/ 123 w 123"/>
                  <a:gd name="T1" fmla="*/ 125 h 125"/>
                  <a:gd name="T2" fmla="*/ 106 w 123"/>
                  <a:gd name="T3" fmla="*/ 106 h 125"/>
                  <a:gd name="T4" fmla="*/ 71 w 123"/>
                  <a:gd name="T5" fmla="*/ 54 h 125"/>
                  <a:gd name="T6" fmla="*/ 22 w 123"/>
                  <a:gd name="T7" fmla="*/ 0 h 125"/>
                  <a:gd name="T8" fmla="*/ 0 w 123"/>
                  <a:gd name="T9" fmla="*/ 0 h 125"/>
                  <a:gd name="T10" fmla="*/ 8 w 123"/>
                  <a:gd name="T11" fmla="*/ 20 h 125"/>
                  <a:gd name="T12" fmla="*/ 47 w 123"/>
                  <a:gd name="T13" fmla="*/ 71 h 125"/>
                  <a:gd name="T14" fmla="*/ 85 w 123"/>
                  <a:gd name="T15" fmla="*/ 123 h 125"/>
                  <a:gd name="T16" fmla="*/ 123 w 123"/>
                  <a:gd name="T17" fmla="*/ 125 h 1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125"/>
                  <a:gd name="T29" fmla="*/ 123 w 123"/>
                  <a:gd name="T30" fmla="*/ 125 h 1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125">
                    <a:moveTo>
                      <a:pt x="123" y="125"/>
                    </a:moveTo>
                    <a:lnTo>
                      <a:pt x="106" y="106"/>
                    </a:lnTo>
                    <a:lnTo>
                      <a:pt x="71" y="54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8" y="20"/>
                    </a:lnTo>
                    <a:lnTo>
                      <a:pt x="47" y="71"/>
                    </a:lnTo>
                    <a:lnTo>
                      <a:pt x="85" y="123"/>
                    </a:lnTo>
                    <a:lnTo>
                      <a:pt x="123" y="1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2" name="Freeform 363"/>
              <p:cNvSpPr>
                <a:spLocks/>
              </p:cNvSpPr>
              <p:nvPr/>
            </p:nvSpPr>
            <p:spPr bwMode="auto">
              <a:xfrm>
                <a:off x="5042" y="1104"/>
                <a:ext cx="94" cy="347"/>
              </a:xfrm>
              <a:custGeom>
                <a:avLst/>
                <a:gdLst>
                  <a:gd name="T0" fmla="*/ 54 w 375"/>
                  <a:gd name="T1" fmla="*/ 169 h 1389"/>
                  <a:gd name="T2" fmla="*/ 67 w 375"/>
                  <a:gd name="T3" fmla="*/ 246 h 1389"/>
                  <a:gd name="T4" fmla="*/ 35 w 375"/>
                  <a:gd name="T5" fmla="*/ 298 h 1389"/>
                  <a:gd name="T6" fmla="*/ 38 w 375"/>
                  <a:gd name="T7" fmla="*/ 370 h 1389"/>
                  <a:gd name="T8" fmla="*/ 58 w 375"/>
                  <a:gd name="T9" fmla="*/ 427 h 1389"/>
                  <a:gd name="T10" fmla="*/ 28 w 375"/>
                  <a:gd name="T11" fmla="*/ 485 h 1389"/>
                  <a:gd name="T12" fmla="*/ 60 w 375"/>
                  <a:gd name="T13" fmla="*/ 586 h 1389"/>
                  <a:gd name="T14" fmla="*/ 22 w 375"/>
                  <a:gd name="T15" fmla="*/ 670 h 1389"/>
                  <a:gd name="T16" fmla="*/ 41 w 375"/>
                  <a:gd name="T17" fmla="*/ 754 h 1389"/>
                  <a:gd name="T18" fmla="*/ 52 w 375"/>
                  <a:gd name="T19" fmla="*/ 814 h 1389"/>
                  <a:gd name="T20" fmla="*/ 13 w 375"/>
                  <a:gd name="T21" fmla="*/ 866 h 1389"/>
                  <a:gd name="T22" fmla="*/ 35 w 375"/>
                  <a:gd name="T23" fmla="*/ 974 h 1389"/>
                  <a:gd name="T24" fmla="*/ 32 w 375"/>
                  <a:gd name="T25" fmla="*/ 1031 h 1389"/>
                  <a:gd name="T26" fmla="*/ 0 w 375"/>
                  <a:gd name="T27" fmla="*/ 1102 h 1389"/>
                  <a:gd name="T28" fmla="*/ 19 w 375"/>
                  <a:gd name="T29" fmla="*/ 1162 h 1389"/>
                  <a:gd name="T30" fmla="*/ 22 w 375"/>
                  <a:gd name="T31" fmla="*/ 1218 h 1389"/>
                  <a:gd name="T32" fmla="*/ 28 w 375"/>
                  <a:gd name="T33" fmla="*/ 1276 h 1389"/>
                  <a:gd name="T34" fmla="*/ 54 w 375"/>
                  <a:gd name="T35" fmla="*/ 1328 h 1389"/>
                  <a:gd name="T36" fmla="*/ 58 w 375"/>
                  <a:gd name="T37" fmla="*/ 1389 h 1389"/>
                  <a:gd name="T38" fmla="*/ 142 w 375"/>
                  <a:gd name="T39" fmla="*/ 1337 h 1389"/>
                  <a:gd name="T40" fmla="*/ 241 w 375"/>
                  <a:gd name="T41" fmla="*/ 1324 h 1389"/>
                  <a:gd name="T42" fmla="*/ 310 w 375"/>
                  <a:gd name="T43" fmla="*/ 1295 h 1389"/>
                  <a:gd name="T44" fmla="*/ 331 w 375"/>
                  <a:gd name="T45" fmla="*/ 1257 h 1389"/>
                  <a:gd name="T46" fmla="*/ 339 w 375"/>
                  <a:gd name="T47" fmla="*/ 1180 h 1389"/>
                  <a:gd name="T48" fmla="*/ 323 w 375"/>
                  <a:gd name="T49" fmla="*/ 1079 h 1389"/>
                  <a:gd name="T50" fmla="*/ 306 w 375"/>
                  <a:gd name="T51" fmla="*/ 1025 h 1389"/>
                  <a:gd name="T52" fmla="*/ 317 w 375"/>
                  <a:gd name="T53" fmla="*/ 960 h 1389"/>
                  <a:gd name="T54" fmla="*/ 286 w 375"/>
                  <a:gd name="T55" fmla="*/ 890 h 1389"/>
                  <a:gd name="T56" fmla="*/ 329 w 375"/>
                  <a:gd name="T57" fmla="*/ 833 h 1389"/>
                  <a:gd name="T58" fmla="*/ 297 w 375"/>
                  <a:gd name="T59" fmla="*/ 754 h 1389"/>
                  <a:gd name="T60" fmla="*/ 280 w 375"/>
                  <a:gd name="T61" fmla="*/ 678 h 1389"/>
                  <a:gd name="T62" fmla="*/ 345 w 375"/>
                  <a:gd name="T63" fmla="*/ 621 h 1389"/>
                  <a:gd name="T64" fmla="*/ 323 w 375"/>
                  <a:gd name="T65" fmla="*/ 580 h 1389"/>
                  <a:gd name="T66" fmla="*/ 323 w 375"/>
                  <a:gd name="T67" fmla="*/ 509 h 1389"/>
                  <a:gd name="T68" fmla="*/ 293 w 375"/>
                  <a:gd name="T69" fmla="*/ 463 h 1389"/>
                  <a:gd name="T70" fmla="*/ 317 w 375"/>
                  <a:gd name="T71" fmla="*/ 408 h 1389"/>
                  <a:gd name="T72" fmla="*/ 297 w 375"/>
                  <a:gd name="T73" fmla="*/ 363 h 1389"/>
                  <a:gd name="T74" fmla="*/ 297 w 375"/>
                  <a:gd name="T75" fmla="*/ 324 h 1389"/>
                  <a:gd name="T76" fmla="*/ 318 w 375"/>
                  <a:gd name="T77" fmla="*/ 289 h 1389"/>
                  <a:gd name="T78" fmla="*/ 291 w 375"/>
                  <a:gd name="T79" fmla="*/ 245 h 1389"/>
                  <a:gd name="T80" fmla="*/ 286 w 375"/>
                  <a:gd name="T81" fmla="*/ 180 h 1389"/>
                  <a:gd name="T82" fmla="*/ 358 w 375"/>
                  <a:gd name="T83" fmla="*/ 99 h 1389"/>
                  <a:gd name="T84" fmla="*/ 375 w 375"/>
                  <a:gd name="T85" fmla="*/ 12 h 1389"/>
                  <a:gd name="T86" fmla="*/ 331 w 375"/>
                  <a:gd name="T87" fmla="*/ 12 h 1389"/>
                  <a:gd name="T88" fmla="*/ 207 w 375"/>
                  <a:gd name="T89" fmla="*/ 79 h 1389"/>
                  <a:gd name="T90" fmla="*/ 103 w 375"/>
                  <a:gd name="T91" fmla="*/ 118 h 138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1389"/>
                  <a:gd name="T140" fmla="*/ 375 w 375"/>
                  <a:gd name="T141" fmla="*/ 1389 h 138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1389">
                    <a:moveTo>
                      <a:pt x="67" y="131"/>
                    </a:moveTo>
                    <a:lnTo>
                      <a:pt x="54" y="169"/>
                    </a:lnTo>
                    <a:lnTo>
                      <a:pt x="65" y="208"/>
                    </a:lnTo>
                    <a:lnTo>
                      <a:pt x="67" y="246"/>
                    </a:lnTo>
                    <a:lnTo>
                      <a:pt x="54" y="270"/>
                    </a:lnTo>
                    <a:lnTo>
                      <a:pt x="35" y="298"/>
                    </a:lnTo>
                    <a:lnTo>
                      <a:pt x="26" y="341"/>
                    </a:lnTo>
                    <a:lnTo>
                      <a:pt x="38" y="370"/>
                    </a:lnTo>
                    <a:lnTo>
                      <a:pt x="58" y="401"/>
                    </a:lnTo>
                    <a:lnTo>
                      <a:pt x="58" y="427"/>
                    </a:lnTo>
                    <a:lnTo>
                      <a:pt x="46" y="453"/>
                    </a:lnTo>
                    <a:lnTo>
                      <a:pt x="28" y="485"/>
                    </a:lnTo>
                    <a:lnTo>
                      <a:pt x="35" y="517"/>
                    </a:lnTo>
                    <a:lnTo>
                      <a:pt x="60" y="586"/>
                    </a:lnTo>
                    <a:lnTo>
                      <a:pt x="58" y="615"/>
                    </a:lnTo>
                    <a:lnTo>
                      <a:pt x="22" y="670"/>
                    </a:lnTo>
                    <a:lnTo>
                      <a:pt x="22" y="718"/>
                    </a:lnTo>
                    <a:lnTo>
                      <a:pt x="41" y="754"/>
                    </a:lnTo>
                    <a:lnTo>
                      <a:pt x="54" y="786"/>
                    </a:lnTo>
                    <a:lnTo>
                      <a:pt x="52" y="814"/>
                    </a:lnTo>
                    <a:lnTo>
                      <a:pt x="19" y="844"/>
                    </a:lnTo>
                    <a:lnTo>
                      <a:pt x="13" y="866"/>
                    </a:lnTo>
                    <a:lnTo>
                      <a:pt x="19" y="917"/>
                    </a:lnTo>
                    <a:lnTo>
                      <a:pt x="35" y="974"/>
                    </a:lnTo>
                    <a:lnTo>
                      <a:pt x="35" y="1006"/>
                    </a:lnTo>
                    <a:lnTo>
                      <a:pt x="32" y="1031"/>
                    </a:lnTo>
                    <a:lnTo>
                      <a:pt x="8" y="1070"/>
                    </a:lnTo>
                    <a:lnTo>
                      <a:pt x="0" y="1102"/>
                    </a:lnTo>
                    <a:lnTo>
                      <a:pt x="2" y="1137"/>
                    </a:lnTo>
                    <a:lnTo>
                      <a:pt x="19" y="1162"/>
                    </a:lnTo>
                    <a:lnTo>
                      <a:pt x="38" y="1186"/>
                    </a:lnTo>
                    <a:lnTo>
                      <a:pt x="22" y="1218"/>
                    </a:lnTo>
                    <a:lnTo>
                      <a:pt x="13" y="1251"/>
                    </a:lnTo>
                    <a:lnTo>
                      <a:pt x="28" y="1276"/>
                    </a:lnTo>
                    <a:lnTo>
                      <a:pt x="52" y="1295"/>
                    </a:lnTo>
                    <a:lnTo>
                      <a:pt x="54" y="1328"/>
                    </a:lnTo>
                    <a:lnTo>
                      <a:pt x="54" y="1354"/>
                    </a:lnTo>
                    <a:lnTo>
                      <a:pt x="58" y="1389"/>
                    </a:lnTo>
                    <a:lnTo>
                      <a:pt x="98" y="1360"/>
                    </a:lnTo>
                    <a:lnTo>
                      <a:pt x="142" y="1337"/>
                    </a:lnTo>
                    <a:lnTo>
                      <a:pt x="181" y="1324"/>
                    </a:lnTo>
                    <a:lnTo>
                      <a:pt x="241" y="1324"/>
                    </a:lnTo>
                    <a:lnTo>
                      <a:pt x="285" y="1317"/>
                    </a:lnTo>
                    <a:lnTo>
                      <a:pt x="310" y="1295"/>
                    </a:lnTo>
                    <a:lnTo>
                      <a:pt x="355" y="1283"/>
                    </a:lnTo>
                    <a:lnTo>
                      <a:pt x="331" y="1257"/>
                    </a:lnTo>
                    <a:lnTo>
                      <a:pt x="323" y="1221"/>
                    </a:lnTo>
                    <a:lnTo>
                      <a:pt x="339" y="1180"/>
                    </a:lnTo>
                    <a:lnTo>
                      <a:pt x="336" y="1121"/>
                    </a:lnTo>
                    <a:lnTo>
                      <a:pt x="323" y="1079"/>
                    </a:lnTo>
                    <a:lnTo>
                      <a:pt x="310" y="1058"/>
                    </a:lnTo>
                    <a:lnTo>
                      <a:pt x="306" y="1025"/>
                    </a:lnTo>
                    <a:lnTo>
                      <a:pt x="323" y="987"/>
                    </a:lnTo>
                    <a:lnTo>
                      <a:pt x="317" y="960"/>
                    </a:lnTo>
                    <a:lnTo>
                      <a:pt x="285" y="915"/>
                    </a:lnTo>
                    <a:lnTo>
                      <a:pt x="286" y="890"/>
                    </a:lnTo>
                    <a:lnTo>
                      <a:pt x="299" y="866"/>
                    </a:lnTo>
                    <a:lnTo>
                      <a:pt x="329" y="833"/>
                    </a:lnTo>
                    <a:lnTo>
                      <a:pt x="318" y="808"/>
                    </a:lnTo>
                    <a:lnTo>
                      <a:pt x="297" y="754"/>
                    </a:lnTo>
                    <a:lnTo>
                      <a:pt x="280" y="718"/>
                    </a:lnTo>
                    <a:lnTo>
                      <a:pt x="280" y="678"/>
                    </a:lnTo>
                    <a:lnTo>
                      <a:pt x="339" y="658"/>
                    </a:lnTo>
                    <a:lnTo>
                      <a:pt x="345" y="621"/>
                    </a:lnTo>
                    <a:lnTo>
                      <a:pt x="339" y="599"/>
                    </a:lnTo>
                    <a:lnTo>
                      <a:pt x="323" y="580"/>
                    </a:lnTo>
                    <a:lnTo>
                      <a:pt x="325" y="547"/>
                    </a:lnTo>
                    <a:lnTo>
                      <a:pt x="323" y="509"/>
                    </a:lnTo>
                    <a:lnTo>
                      <a:pt x="306" y="490"/>
                    </a:lnTo>
                    <a:lnTo>
                      <a:pt x="293" y="463"/>
                    </a:lnTo>
                    <a:lnTo>
                      <a:pt x="304" y="438"/>
                    </a:lnTo>
                    <a:lnTo>
                      <a:pt x="317" y="408"/>
                    </a:lnTo>
                    <a:lnTo>
                      <a:pt x="317" y="389"/>
                    </a:lnTo>
                    <a:lnTo>
                      <a:pt x="297" y="363"/>
                    </a:lnTo>
                    <a:lnTo>
                      <a:pt x="291" y="341"/>
                    </a:lnTo>
                    <a:lnTo>
                      <a:pt x="297" y="324"/>
                    </a:lnTo>
                    <a:lnTo>
                      <a:pt x="317" y="311"/>
                    </a:lnTo>
                    <a:lnTo>
                      <a:pt x="318" y="289"/>
                    </a:lnTo>
                    <a:lnTo>
                      <a:pt x="312" y="277"/>
                    </a:lnTo>
                    <a:lnTo>
                      <a:pt x="291" y="245"/>
                    </a:lnTo>
                    <a:lnTo>
                      <a:pt x="285" y="208"/>
                    </a:lnTo>
                    <a:lnTo>
                      <a:pt x="286" y="180"/>
                    </a:lnTo>
                    <a:lnTo>
                      <a:pt x="306" y="154"/>
                    </a:lnTo>
                    <a:lnTo>
                      <a:pt x="358" y="99"/>
                    </a:lnTo>
                    <a:lnTo>
                      <a:pt x="375" y="50"/>
                    </a:lnTo>
                    <a:lnTo>
                      <a:pt x="375" y="12"/>
                    </a:lnTo>
                    <a:lnTo>
                      <a:pt x="358" y="0"/>
                    </a:lnTo>
                    <a:lnTo>
                      <a:pt x="331" y="12"/>
                    </a:lnTo>
                    <a:lnTo>
                      <a:pt x="267" y="53"/>
                    </a:lnTo>
                    <a:lnTo>
                      <a:pt x="207" y="79"/>
                    </a:lnTo>
                    <a:lnTo>
                      <a:pt x="144" y="105"/>
                    </a:lnTo>
                    <a:lnTo>
                      <a:pt x="103" y="118"/>
                    </a:lnTo>
                    <a:lnTo>
                      <a:pt x="67" y="1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3" name="Freeform 364"/>
              <p:cNvSpPr>
                <a:spLocks/>
              </p:cNvSpPr>
              <p:nvPr/>
            </p:nvSpPr>
            <p:spPr bwMode="auto">
              <a:xfrm>
                <a:off x="4977" y="1101"/>
                <a:ext cx="167" cy="355"/>
              </a:xfrm>
              <a:custGeom>
                <a:avLst/>
                <a:gdLst>
                  <a:gd name="T0" fmla="*/ 437 w 670"/>
                  <a:gd name="T1" fmla="*/ 1335 h 1421"/>
                  <a:gd name="T2" fmla="*/ 308 w 670"/>
                  <a:gd name="T3" fmla="*/ 1381 h 1421"/>
                  <a:gd name="T4" fmla="*/ 54 w 670"/>
                  <a:gd name="T5" fmla="*/ 1150 h 1421"/>
                  <a:gd name="T6" fmla="*/ 41 w 670"/>
                  <a:gd name="T7" fmla="*/ 1188 h 1421"/>
                  <a:gd name="T8" fmla="*/ 317 w 670"/>
                  <a:gd name="T9" fmla="*/ 1421 h 1421"/>
                  <a:gd name="T10" fmla="*/ 451 w 670"/>
                  <a:gd name="T11" fmla="*/ 1351 h 1421"/>
                  <a:gd name="T12" fmla="*/ 633 w 670"/>
                  <a:gd name="T13" fmla="*/ 1291 h 1421"/>
                  <a:gd name="T14" fmla="*/ 625 w 670"/>
                  <a:gd name="T15" fmla="*/ 1188 h 1421"/>
                  <a:gd name="T16" fmla="*/ 589 w 670"/>
                  <a:gd name="T17" fmla="*/ 1077 h 1421"/>
                  <a:gd name="T18" fmla="*/ 605 w 670"/>
                  <a:gd name="T19" fmla="*/ 987 h 1421"/>
                  <a:gd name="T20" fmla="*/ 567 w 670"/>
                  <a:gd name="T21" fmla="*/ 899 h 1421"/>
                  <a:gd name="T22" fmla="*/ 586 w 670"/>
                  <a:gd name="T23" fmla="*/ 796 h 1421"/>
                  <a:gd name="T24" fmla="*/ 601 w 670"/>
                  <a:gd name="T25" fmla="*/ 693 h 1421"/>
                  <a:gd name="T26" fmla="*/ 605 w 670"/>
                  <a:gd name="T27" fmla="*/ 563 h 1421"/>
                  <a:gd name="T28" fmla="*/ 580 w 670"/>
                  <a:gd name="T29" fmla="*/ 454 h 1421"/>
                  <a:gd name="T30" fmla="*/ 567 w 670"/>
                  <a:gd name="T31" fmla="*/ 367 h 1421"/>
                  <a:gd name="T32" fmla="*/ 599 w 670"/>
                  <a:gd name="T33" fmla="*/ 293 h 1421"/>
                  <a:gd name="T34" fmla="*/ 581 w 670"/>
                  <a:gd name="T35" fmla="*/ 168 h 1421"/>
                  <a:gd name="T36" fmla="*/ 664 w 670"/>
                  <a:gd name="T37" fmla="*/ 14 h 1421"/>
                  <a:gd name="T38" fmla="*/ 627 w 670"/>
                  <a:gd name="T39" fmla="*/ 47 h 1421"/>
                  <a:gd name="T40" fmla="*/ 543 w 670"/>
                  <a:gd name="T41" fmla="*/ 187 h 1421"/>
                  <a:gd name="T42" fmla="*/ 421 w 670"/>
                  <a:gd name="T43" fmla="*/ 303 h 1421"/>
                  <a:gd name="T44" fmla="*/ 548 w 670"/>
                  <a:gd name="T45" fmla="*/ 261 h 1421"/>
                  <a:gd name="T46" fmla="*/ 537 w 670"/>
                  <a:gd name="T47" fmla="*/ 342 h 1421"/>
                  <a:gd name="T48" fmla="*/ 476 w 670"/>
                  <a:gd name="T49" fmla="*/ 427 h 1421"/>
                  <a:gd name="T50" fmla="*/ 562 w 670"/>
                  <a:gd name="T51" fmla="*/ 408 h 1421"/>
                  <a:gd name="T52" fmla="*/ 541 w 670"/>
                  <a:gd name="T53" fmla="*/ 473 h 1421"/>
                  <a:gd name="T54" fmla="*/ 535 w 670"/>
                  <a:gd name="T55" fmla="*/ 544 h 1421"/>
                  <a:gd name="T56" fmla="*/ 407 w 670"/>
                  <a:gd name="T57" fmla="*/ 639 h 1421"/>
                  <a:gd name="T58" fmla="*/ 549 w 670"/>
                  <a:gd name="T59" fmla="*/ 574 h 1421"/>
                  <a:gd name="T60" fmla="*/ 601 w 670"/>
                  <a:gd name="T61" fmla="*/ 639 h 1421"/>
                  <a:gd name="T62" fmla="*/ 515 w 670"/>
                  <a:gd name="T63" fmla="*/ 699 h 1421"/>
                  <a:gd name="T64" fmla="*/ 356 w 670"/>
                  <a:gd name="T65" fmla="*/ 777 h 1421"/>
                  <a:gd name="T66" fmla="*/ 537 w 670"/>
                  <a:gd name="T67" fmla="*/ 744 h 1421"/>
                  <a:gd name="T68" fmla="*/ 573 w 670"/>
                  <a:gd name="T69" fmla="*/ 864 h 1421"/>
                  <a:gd name="T70" fmla="*/ 360 w 670"/>
                  <a:gd name="T71" fmla="*/ 922 h 1421"/>
                  <a:gd name="T72" fmla="*/ 476 w 670"/>
                  <a:gd name="T73" fmla="*/ 918 h 1421"/>
                  <a:gd name="T74" fmla="*/ 549 w 670"/>
                  <a:gd name="T75" fmla="*/ 954 h 1421"/>
                  <a:gd name="T76" fmla="*/ 548 w 670"/>
                  <a:gd name="T77" fmla="*/ 1025 h 1421"/>
                  <a:gd name="T78" fmla="*/ 342 w 670"/>
                  <a:gd name="T79" fmla="*/ 1066 h 1421"/>
                  <a:gd name="T80" fmla="*/ 445 w 670"/>
                  <a:gd name="T81" fmla="*/ 1066 h 1421"/>
                  <a:gd name="T82" fmla="*/ 560 w 670"/>
                  <a:gd name="T83" fmla="*/ 1047 h 1421"/>
                  <a:gd name="T84" fmla="*/ 459 w 670"/>
                  <a:gd name="T85" fmla="*/ 1144 h 1421"/>
                  <a:gd name="T86" fmla="*/ 342 w 670"/>
                  <a:gd name="T87" fmla="*/ 1199 h 1421"/>
                  <a:gd name="T88" fmla="*/ 489 w 670"/>
                  <a:gd name="T89" fmla="*/ 1148 h 1421"/>
                  <a:gd name="T90" fmla="*/ 575 w 670"/>
                  <a:gd name="T91" fmla="*/ 1128 h 1421"/>
                  <a:gd name="T92" fmla="*/ 573 w 670"/>
                  <a:gd name="T93" fmla="*/ 1212 h 1421"/>
                  <a:gd name="T94" fmla="*/ 586 w 670"/>
                  <a:gd name="T95" fmla="*/ 1283 h 14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70"/>
                  <a:gd name="T145" fmla="*/ 0 h 1421"/>
                  <a:gd name="T146" fmla="*/ 670 w 670"/>
                  <a:gd name="T147" fmla="*/ 1421 h 14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70" h="1421">
                    <a:moveTo>
                      <a:pt x="569" y="1286"/>
                    </a:moveTo>
                    <a:lnTo>
                      <a:pt x="541" y="1318"/>
                    </a:lnTo>
                    <a:lnTo>
                      <a:pt x="496" y="1329"/>
                    </a:lnTo>
                    <a:lnTo>
                      <a:pt x="437" y="1335"/>
                    </a:lnTo>
                    <a:lnTo>
                      <a:pt x="375" y="1348"/>
                    </a:lnTo>
                    <a:lnTo>
                      <a:pt x="334" y="1373"/>
                    </a:lnTo>
                    <a:lnTo>
                      <a:pt x="321" y="1387"/>
                    </a:lnTo>
                    <a:lnTo>
                      <a:pt x="308" y="1381"/>
                    </a:lnTo>
                    <a:lnTo>
                      <a:pt x="233" y="1324"/>
                    </a:lnTo>
                    <a:lnTo>
                      <a:pt x="136" y="1247"/>
                    </a:lnTo>
                    <a:lnTo>
                      <a:pt x="103" y="1199"/>
                    </a:lnTo>
                    <a:lnTo>
                      <a:pt x="54" y="1150"/>
                    </a:lnTo>
                    <a:lnTo>
                      <a:pt x="39" y="1112"/>
                    </a:lnTo>
                    <a:lnTo>
                      <a:pt x="0" y="1106"/>
                    </a:lnTo>
                    <a:lnTo>
                      <a:pt x="19" y="1148"/>
                    </a:lnTo>
                    <a:lnTo>
                      <a:pt x="41" y="1188"/>
                    </a:lnTo>
                    <a:lnTo>
                      <a:pt x="103" y="1234"/>
                    </a:lnTo>
                    <a:lnTo>
                      <a:pt x="147" y="1291"/>
                    </a:lnTo>
                    <a:lnTo>
                      <a:pt x="252" y="1357"/>
                    </a:lnTo>
                    <a:lnTo>
                      <a:pt x="317" y="1421"/>
                    </a:lnTo>
                    <a:lnTo>
                      <a:pt x="342" y="1415"/>
                    </a:lnTo>
                    <a:lnTo>
                      <a:pt x="369" y="1383"/>
                    </a:lnTo>
                    <a:lnTo>
                      <a:pt x="405" y="1364"/>
                    </a:lnTo>
                    <a:lnTo>
                      <a:pt x="451" y="1351"/>
                    </a:lnTo>
                    <a:lnTo>
                      <a:pt x="548" y="1342"/>
                    </a:lnTo>
                    <a:lnTo>
                      <a:pt x="575" y="1324"/>
                    </a:lnTo>
                    <a:lnTo>
                      <a:pt x="625" y="1312"/>
                    </a:lnTo>
                    <a:lnTo>
                      <a:pt x="633" y="1291"/>
                    </a:lnTo>
                    <a:lnTo>
                      <a:pt x="619" y="1264"/>
                    </a:lnTo>
                    <a:lnTo>
                      <a:pt x="601" y="1239"/>
                    </a:lnTo>
                    <a:lnTo>
                      <a:pt x="611" y="1206"/>
                    </a:lnTo>
                    <a:lnTo>
                      <a:pt x="625" y="1188"/>
                    </a:lnTo>
                    <a:lnTo>
                      <a:pt x="625" y="1161"/>
                    </a:lnTo>
                    <a:lnTo>
                      <a:pt x="611" y="1118"/>
                    </a:lnTo>
                    <a:lnTo>
                      <a:pt x="605" y="1096"/>
                    </a:lnTo>
                    <a:lnTo>
                      <a:pt x="589" y="1077"/>
                    </a:lnTo>
                    <a:lnTo>
                      <a:pt x="580" y="1054"/>
                    </a:lnTo>
                    <a:lnTo>
                      <a:pt x="589" y="1032"/>
                    </a:lnTo>
                    <a:lnTo>
                      <a:pt x="608" y="1014"/>
                    </a:lnTo>
                    <a:lnTo>
                      <a:pt x="605" y="987"/>
                    </a:lnTo>
                    <a:lnTo>
                      <a:pt x="595" y="968"/>
                    </a:lnTo>
                    <a:lnTo>
                      <a:pt x="573" y="938"/>
                    </a:lnTo>
                    <a:lnTo>
                      <a:pt x="560" y="922"/>
                    </a:lnTo>
                    <a:lnTo>
                      <a:pt x="567" y="899"/>
                    </a:lnTo>
                    <a:lnTo>
                      <a:pt x="599" y="880"/>
                    </a:lnTo>
                    <a:lnTo>
                      <a:pt x="611" y="854"/>
                    </a:lnTo>
                    <a:lnTo>
                      <a:pt x="608" y="832"/>
                    </a:lnTo>
                    <a:lnTo>
                      <a:pt x="586" y="796"/>
                    </a:lnTo>
                    <a:lnTo>
                      <a:pt x="562" y="750"/>
                    </a:lnTo>
                    <a:lnTo>
                      <a:pt x="554" y="718"/>
                    </a:lnTo>
                    <a:lnTo>
                      <a:pt x="567" y="705"/>
                    </a:lnTo>
                    <a:lnTo>
                      <a:pt x="601" y="693"/>
                    </a:lnTo>
                    <a:lnTo>
                      <a:pt x="621" y="679"/>
                    </a:lnTo>
                    <a:lnTo>
                      <a:pt x="625" y="639"/>
                    </a:lnTo>
                    <a:lnTo>
                      <a:pt x="601" y="593"/>
                    </a:lnTo>
                    <a:lnTo>
                      <a:pt x="605" y="563"/>
                    </a:lnTo>
                    <a:lnTo>
                      <a:pt x="614" y="535"/>
                    </a:lnTo>
                    <a:lnTo>
                      <a:pt x="592" y="503"/>
                    </a:lnTo>
                    <a:lnTo>
                      <a:pt x="573" y="473"/>
                    </a:lnTo>
                    <a:lnTo>
                      <a:pt x="580" y="454"/>
                    </a:lnTo>
                    <a:lnTo>
                      <a:pt x="592" y="435"/>
                    </a:lnTo>
                    <a:lnTo>
                      <a:pt x="592" y="402"/>
                    </a:lnTo>
                    <a:lnTo>
                      <a:pt x="580" y="383"/>
                    </a:lnTo>
                    <a:lnTo>
                      <a:pt x="567" y="367"/>
                    </a:lnTo>
                    <a:lnTo>
                      <a:pt x="569" y="343"/>
                    </a:lnTo>
                    <a:lnTo>
                      <a:pt x="592" y="331"/>
                    </a:lnTo>
                    <a:lnTo>
                      <a:pt x="605" y="318"/>
                    </a:lnTo>
                    <a:lnTo>
                      <a:pt x="599" y="293"/>
                    </a:lnTo>
                    <a:lnTo>
                      <a:pt x="573" y="261"/>
                    </a:lnTo>
                    <a:lnTo>
                      <a:pt x="562" y="232"/>
                    </a:lnTo>
                    <a:lnTo>
                      <a:pt x="560" y="199"/>
                    </a:lnTo>
                    <a:lnTo>
                      <a:pt x="581" y="168"/>
                    </a:lnTo>
                    <a:lnTo>
                      <a:pt x="627" y="118"/>
                    </a:lnTo>
                    <a:lnTo>
                      <a:pt x="651" y="79"/>
                    </a:lnTo>
                    <a:lnTo>
                      <a:pt x="670" y="47"/>
                    </a:lnTo>
                    <a:lnTo>
                      <a:pt x="664" y="14"/>
                    </a:lnTo>
                    <a:lnTo>
                      <a:pt x="646" y="0"/>
                    </a:lnTo>
                    <a:lnTo>
                      <a:pt x="633" y="2"/>
                    </a:lnTo>
                    <a:lnTo>
                      <a:pt x="611" y="28"/>
                    </a:lnTo>
                    <a:lnTo>
                      <a:pt x="627" y="47"/>
                    </a:lnTo>
                    <a:lnTo>
                      <a:pt x="625" y="79"/>
                    </a:lnTo>
                    <a:lnTo>
                      <a:pt x="595" y="136"/>
                    </a:lnTo>
                    <a:lnTo>
                      <a:pt x="556" y="168"/>
                    </a:lnTo>
                    <a:lnTo>
                      <a:pt x="543" y="187"/>
                    </a:lnTo>
                    <a:lnTo>
                      <a:pt x="535" y="213"/>
                    </a:lnTo>
                    <a:lnTo>
                      <a:pt x="530" y="228"/>
                    </a:lnTo>
                    <a:lnTo>
                      <a:pt x="472" y="273"/>
                    </a:lnTo>
                    <a:lnTo>
                      <a:pt x="421" y="303"/>
                    </a:lnTo>
                    <a:lnTo>
                      <a:pt x="413" y="324"/>
                    </a:lnTo>
                    <a:lnTo>
                      <a:pt x="431" y="329"/>
                    </a:lnTo>
                    <a:lnTo>
                      <a:pt x="508" y="273"/>
                    </a:lnTo>
                    <a:lnTo>
                      <a:pt x="548" y="261"/>
                    </a:lnTo>
                    <a:lnTo>
                      <a:pt x="567" y="297"/>
                    </a:lnTo>
                    <a:lnTo>
                      <a:pt x="573" y="312"/>
                    </a:lnTo>
                    <a:lnTo>
                      <a:pt x="554" y="329"/>
                    </a:lnTo>
                    <a:lnTo>
                      <a:pt x="537" y="342"/>
                    </a:lnTo>
                    <a:lnTo>
                      <a:pt x="535" y="364"/>
                    </a:lnTo>
                    <a:lnTo>
                      <a:pt x="541" y="387"/>
                    </a:lnTo>
                    <a:lnTo>
                      <a:pt x="524" y="406"/>
                    </a:lnTo>
                    <a:lnTo>
                      <a:pt x="476" y="427"/>
                    </a:lnTo>
                    <a:lnTo>
                      <a:pt x="405" y="457"/>
                    </a:lnTo>
                    <a:lnTo>
                      <a:pt x="431" y="467"/>
                    </a:lnTo>
                    <a:lnTo>
                      <a:pt x="505" y="438"/>
                    </a:lnTo>
                    <a:lnTo>
                      <a:pt x="562" y="408"/>
                    </a:lnTo>
                    <a:lnTo>
                      <a:pt x="573" y="415"/>
                    </a:lnTo>
                    <a:lnTo>
                      <a:pt x="567" y="435"/>
                    </a:lnTo>
                    <a:lnTo>
                      <a:pt x="548" y="454"/>
                    </a:lnTo>
                    <a:lnTo>
                      <a:pt x="541" y="473"/>
                    </a:lnTo>
                    <a:lnTo>
                      <a:pt x="549" y="498"/>
                    </a:lnTo>
                    <a:lnTo>
                      <a:pt x="573" y="519"/>
                    </a:lnTo>
                    <a:lnTo>
                      <a:pt x="573" y="535"/>
                    </a:lnTo>
                    <a:lnTo>
                      <a:pt x="535" y="544"/>
                    </a:lnTo>
                    <a:lnTo>
                      <a:pt x="502" y="587"/>
                    </a:lnTo>
                    <a:lnTo>
                      <a:pt x="464" y="612"/>
                    </a:lnTo>
                    <a:lnTo>
                      <a:pt x="412" y="625"/>
                    </a:lnTo>
                    <a:lnTo>
                      <a:pt x="407" y="639"/>
                    </a:lnTo>
                    <a:lnTo>
                      <a:pt x="440" y="634"/>
                    </a:lnTo>
                    <a:lnTo>
                      <a:pt x="508" y="612"/>
                    </a:lnTo>
                    <a:lnTo>
                      <a:pt x="535" y="593"/>
                    </a:lnTo>
                    <a:lnTo>
                      <a:pt x="549" y="574"/>
                    </a:lnTo>
                    <a:lnTo>
                      <a:pt x="573" y="570"/>
                    </a:lnTo>
                    <a:lnTo>
                      <a:pt x="573" y="593"/>
                    </a:lnTo>
                    <a:lnTo>
                      <a:pt x="589" y="615"/>
                    </a:lnTo>
                    <a:lnTo>
                      <a:pt x="601" y="639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5" y="679"/>
                    </a:lnTo>
                    <a:lnTo>
                      <a:pt x="515" y="699"/>
                    </a:lnTo>
                    <a:lnTo>
                      <a:pt x="427" y="725"/>
                    </a:lnTo>
                    <a:lnTo>
                      <a:pt x="362" y="748"/>
                    </a:lnTo>
                    <a:lnTo>
                      <a:pt x="336" y="761"/>
                    </a:lnTo>
                    <a:lnTo>
                      <a:pt x="356" y="777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4" y="723"/>
                    </a:lnTo>
                    <a:lnTo>
                      <a:pt x="537" y="744"/>
                    </a:lnTo>
                    <a:lnTo>
                      <a:pt x="549" y="783"/>
                    </a:lnTo>
                    <a:lnTo>
                      <a:pt x="573" y="815"/>
                    </a:lnTo>
                    <a:lnTo>
                      <a:pt x="575" y="840"/>
                    </a:lnTo>
                    <a:lnTo>
                      <a:pt x="573" y="864"/>
                    </a:lnTo>
                    <a:lnTo>
                      <a:pt x="548" y="873"/>
                    </a:lnTo>
                    <a:lnTo>
                      <a:pt x="502" y="884"/>
                    </a:lnTo>
                    <a:lnTo>
                      <a:pt x="445" y="910"/>
                    </a:lnTo>
                    <a:lnTo>
                      <a:pt x="360" y="922"/>
                    </a:lnTo>
                    <a:lnTo>
                      <a:pt x="328" y="938"/>
                    </a:lnTo>
                    <a:lnTo>
                      <a:pt x="350" y="948"/>
                    </a:lnTo>
                    <a:lnTo>
                      <a:pt x="424" y="938"/>
                    </a:lnTo>
                    <a:lnTo>
                      <a:pt x="476" y="918"/>
                    </a:lnTo>
                    <a:lnTo>
                      <a:pt x="511" y="905"/>
                    </a:lnTo>
                    <a:lnTo>
                      <a:pt x="541" y="899"/>
                    </a:lnTo>
                    <a:lnTo>
                      <a:pt x="537" y="922"/>
                    </a:lnTo>
                    <a:lnTo>
                      <a:pt x="549" y="954"/>
                    </a:lnTo>
                    <a:lnTo>
                      <a:pt x="569" y="974"/>
                    </a:lnTo>
                    <a:lnTo>
                      <a:pt x="573" y="995"/>
                    </a:lnTo>
                    <a:lnTo>
                      <a:pt x="573" y="1014"/>
                    </a:lnTo>
                    <a:lnTo>
                      <a:pt x="548" y="1025"/>
                    </a:lnTo>
                    <a:lnTo>
                      <a:pt x="497" y="1028"/>
                    </a:lnTo>
                    <a:lnTo>
                      <a:pt x="464" y="1038"/>
                    </a:lnTo>
                    <a:lnTo>
                      <a:pt x="386" y="1065"/>
                    </a:lnTo>
                    <a:lnTo>
                      <a:pt x="342" y="1066"/>
                    </a:lnTo>
                    <a:lnTo>
                      <a:pt x="328" y="1085"/>
                    </a:lnTo>
                    <a:lnTo>
                      <a:pt x="347" y="1092"/>
                    </a:lnTo>
                    <a:lnTo>
                      <a:pt x="386" y="1084"/>
                    </a:lnTo>
                    <a:lnTo>
                      <a:pt x="445" y="1066"/>
                    </a:lnTo>
                    <a:lnTo>
                      <a:pt x="476" y="1054"/>
                    </a:lnTo>
                    <a:lnTo>
                      <a:pt x="518" y="1044"/>
                    </a:lnTo>
                    <a:lnTo>
                      <a:pt x="549" y="1047"/>
                    </a:lnTo>
                    <a:lnTo>
                      <a:pt x="560" y="1047"/>
                    </a:lnTo>
                    <a:lnTo>
                      <a:pt x="560" y="1077"/>
                    </a:lnTo>
                    <a:lnTo>
                      <a:pt x="569" y="1092"/>
                    </a:lnTo>
                    <a:lnTo>
                      <a:pt x="511" y="1106"/>
                    </a:lnTo>
                    <a:lnTo>
                      <a:pt x="459" y="1144"/>
                    </a:lnTo>
                    <a:lnTo>
                      <a:pt x="401" y="1163"/>
                    </a:lnTo>
                    <a:lnTo>
                      <a:pt x="362" y="1169"/>
                    </a:lnTo>
                    <a:lnTo>
                      <a:pt x="329" y="1187"/>
                    </a:lnTo>
                    <a:lnTo>
                      <a:pt x="342" y="1199"/>
                    </a:lnTo>
                    <a:lnTo>
                      <a:pt x="375" y="1188"/>
                    </a:lnTo>
                    <a:lnTo>
                      <a:pt x="412" y="1176"/>
                    </a:lnTo>
                    <a:lnTo>
                      <a:pt x="453" y="1169"/>
                    </a:lnTo>
                    <a:lnTo>
                      <a:pt x="489" y="1148"/>
                    </a:lnTo>
                    <a:lnTo>
                      <a:pt x="508" y="1128"/>
                    </a:lnTo>
                    <a:lnTo>
                      <a:pt x="535" y="1125"/>
                    </a:lnTo>
                    <a:lnTo>
                      <a:pt x="567" y="1125"/>
                    </a:lnTo>
                    <a:lnTo>
                      <a:pt x="575" y="1128"/>
                    </a:lnTo>
                    <a:lnTo>
                      <a:pt x="586" y="1150"/>
                    </a:lnTo>
                    <a:lnTo>
                      <a:pt x="592" y="1176"/>
                    </a:lnTo>
                    <a:lnTo>
                      <a:pt x="586" y="1199"/>
                    </a:lnTo>
                    <a:lnTo>
                      <a:pt x="573" y="1212"/>
                    </a:lnTo>
                    <a:lnTo>
                      <a:pt x="562" y="1245"/>
                    </a:lnTo>
                    <a:lnTo>
                      <a:pt x="573" y="1258"/>
                    </a:lnTo>
                    <a:lnTo>
                      <a:pt x="586" y="1271"/>
                    </a:lnTo>
                    <a:lnTo>
                      <a:pt x="586" y="1283"/>
                    </a:lnTo>
                    <a:lnTo>
                      <a:pt x="569" y="128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4" name="Freeform 365"/>
              <p:cNvSpPr>
                <a:spLocks/>
              </p:cNvSpPr>
              <p:nvPr/>
            </p:nvSpPr>
            <p:spPr bwMode="auto">
              <a:xfrm>
                <a:off x="5065" y="1406"/>
                <a:ext cx="48" cy="16"/>
              </a:xfrm>
              <a:custGeom>
                <a:avLst/>
                <a:gdLst>
                  <a:gd name="T0" fmla="*/ 0 w 194"/>
                  <a:gd name="T1" fmla="*/ 51 h 63"/>
                  <a:gd name="T2" fmla="*/ 77 w 194"/>
                  <a:gd name="T3" fmla="*/ 49 h 63"/>
                  <a:gd name="T4" fmla="*/ 107 w 194"/>
                  <a:gd name="T5" fmla="*/ 32 h 63"/>
                  <a:gd name="T6" fmla="*/ 133 w 194"/>
                  <a:gd name="T7" fmla="*/ 13 h 63"/>
                  <a:gd name="T8" fmla="*/ 181 w 194"/>
                  <a:gd name="T9" fmla="*/ 0 h 63"/>
                  <a:gd name="T10" fmla="*/ 194 w 194"/>
                  <a:gd name="T11" fmla="*/ 13 h 63"/>
                  <a:gd name="T12" fmla="*/ 173 w 194"/>
                  <a:gd name="T13" fmla="*/ 19 h 63"/>
                  <a:gd name="T14" fmla="*/ 140 w 194"/>
                  <a:gd name="T15" fmla="*/ 37 h 63"/>
                  <a:gd name="T16" fmla="*/ 122 w 194"/>
                  <a:gd name="T17" fmla="*/ 49 h 63"/>
                  <a:gd name="T18" fmla="*/ 91 w 194"/>
                  <a:gd name="T19" fmla="*/ 57 h 63"/>
                  <a:gd name="T20" fmla="*/ 43 w 194"/>
                  <a:gd name="T21" fmla="*/ 62 h 63"/>
                  <a:gd name="T22" fmla="*/ 4 w 194"/>
                  <a:gd name="T23" fmla="*/ 63 h 63"/>
                  <a:gd name="T24" fmla="*/ 0 w 194"/>
                  <a:gd name="T25" fmla="*/ 51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4"/>
                  <a:gd name="T40" fmla="*/ 0 h 63"/>
                  <a:gd name="T41" fmla="*/ 194 w 194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4" h="63">
                    <a:moveTo>
                      <a:pt x="0" y="51"/>
                    </a:moveTo>
                    <a:lnTo>
                      <a:pt x="77" y="49"/>
                    </a:lnTo>
                    <a:lnTo>
                      <a:pt x="107" y="32"/>
                    </a:lnTo>
                    <a:lnTo>
                      <a:pt x="133" y="13"/>
                    </a:lnTo>
                    <a:lnTo>
                      <a:pt x="181" y="0"/>
                    </a:lnTo>
                    <a:lnTo>
                      <a:pt x="194" y="13"/>
                    </a:lnTo>
                    <a:lnTo>
                      <a:pt x="173" y="19"/>
                    </a:lnTo>
                    <a:lnTo>
                      <a:pt x="140" y="37"/>
                    </a:lnTo>
                    <a:lnTo>
                      <a:pt x="122" y="49"/>
                    </a:lnTo>
                    <a:lnTo>
                      <a:pt x="91" y="57"/>
                    </a:lnTo>
                    <a:lnTo>
                      <a:pt x="43" y="62"/>
                    </a:lnTo>
                    <a:lnTo>
                      <a:pt x="4" y="63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5" name="Freeform 366"/>
              <p:cNvSpPr>
                <a:spLocks/>
              </p:cNvSpPr>
              <p:nvPr/>
            </p:nvSpPr>
            <p:spPr bwMode="auto">
              <a:xfrm>
                <a:off x="4991" y="1059"/>
                <a:ext cx="141" cy="76"/>
              </a:xfrm>
              <a:custGeom>
                <a:avLst/>
                <a:gdLst>
                  <a:gd name="T0" fmla="*/ 17 w 562"/>
                  <a:gd name="T1" fmla="*/ 35 h 305"/>
                  <a:gd name="T2" fmla="*/ 84 w 562"/>
                  <a:gd name="T3" fmla="*/ 38 h 305"/>
                  <a:gd name="T4" fmla="*/ 155 w 562"/>
                  <a:gd name="T5" fmla="*/ 41 h 305"/>
                  <a:gd name="T6" fmla="*/ 201 w 562"/>
                  <a:gd name="T7" fmla="*/ 41 h 305"/>
                  <a:gd name="T8" fmla="*/ 237 w 562"/>
                  <a:gd name="T9" fmla="*/ 32 h 305"/>
                  <a:gd name="T10" fmla="*/ 295 w 562"/>
                  <a:gd name="T11" fmla="*/ 15 h 305"/>
                  <a:gd name="T12" fmla="*/ 323 w 562"/>
                  <a:gd name="T13" fmla="*/ 0 h 305"/>
                  <a:gd name="T14" fmla="*/ 362 w 562"/>
                  <a:gd name="T15" fmla="*/ 21 h 305"/>
                  <a:gd name="T16" fmla="*/ 424 w 562"/>
                  <a:gd name="T17" fmla="*/ 65 h 305"/>
                  <a:gd name="T18" fmla="*/ 470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8 h 305"/>
                  <a:gd name="T24" fmla="*/ 530 w 562"/>
                  <a:gd name="T25" fmla="*/ 195 h 305"/>
                  <a:gd name="T26" fmla="*/ 497 w 562"/>
                  <a:gd name="T27" fmla="*/ 225 h 305"/>
                  <a:gd name="T28" fmla="*/ 446 w 562"/>
                  <a:gd name="T29" fmla="*/ 247 h 305"/>
                  <a:gd name="T30" fmla="*/ 392 w 562"/>
                  <a:gd name="T31" fmla="*/ 270 h 305"/>
                  <a:gd name="T32" fmla="*/ 342 w 562"/>
                  <a:gd name="T33" fmla="*/ 289 h 305"/>
                  <a:gd name="T34" fmla="*/ 297 w 562"/>
                  <a:gd name="T35" fmla="*/ 296 h 305"/>
                  <a:gd name="T36" fmla="*/ 250 w 562"/>
                  <a:gd name="T37" fmla="*/ 305 h 305"/>
                  <a:gd name="T38" fmla="*/ 191 w 562"/>
                  <a:gd name="T39" fmla="*/ 264 h 305"/>
                  <a:gd name="T40" fmla="*/ 147 w 562"/>
                  <a:gd name="T41" fmla="*/ 228 h 305"/>
                  <a:gd name="T42" fmla="*/ 95 w 562"/>
                  <a:gd name="T43" fmla="*/ 182 h 305"/>
                  <a:gd name="T44" fmla="*/ 52 w 562"/>
                  <a:gd name="T45" fmla="*/ 137 h 305"/>
                  <a:gd name="T46" fmla="*/ 19 w 562"/>
                  <a:gd name="T47" fmla="*/ 105 h 305"/>
                  <a:gd name="T48" fmla="*/ 0 w 562"/>
                  <a:gd name="T49" fmla="*/ 60 h 305"/>
                  <a:gd name="T50" fmla="*/ 17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7" y="35"/>
                    </a:moveTo>
                    <a:lnTo>
                      <a:pt x="84" y="38"/>
                    </a:lnTo>
                    <a:lnTo>
                      <a:pt x="155" y="41"/>
                    </a:lnTo>
                    <a:lnTo>
                      <a:pt x="201" y="41"/>
                    </a:lnTo>
                    <a:lnTo>
                      <a:pt x="237" y="32"/>
                    </a:lnTo>
                    <a:lnTo>
                      <a:pt x="295" y="15"/>
                    </a:lnTo>
                    <a:lnTo>
                      <a:pt x="323" y="0"/>
                    </a:lnTo>
                    <a:lnTo>
                      <a:pt x="362" y="21"/>
                    </a:lnTo>
                    <a:lnTo>
                      <a:pt x="424" y="65"/>
                    </a:lnTo>
                    <a:lnTo>
                      <a:pt x="470" y="96"/>
                    </a:lnTo>
                    <a:lnTo>
                      <a:pt x="527" y="137"/>
                    </a:lnTo>
                    <a:lnTo>
                      <a:pt x="562" y="168"/>
                    </a:lnTo>
                    <a:lnTo>
                      <a:pt x="530" y="195"/>
                    </a:lnTo>
                    <a:lnTo>
                      <a:pt x="497" y="225"/>
                    </a:lnTo>
                    <a:lnTo>
                      <a:pt x="446" y="247"/>
                    </a:lnTo>
                    <a:lnTo>
                      <a:pt x="392" y="270"/>
                    </a:lnTo>
                    <a:lnTo>
                      <a:pt x="342" y="289"/>
                    </a:lnTo>
                    <a:lnTo>
                      <a:pt x="297" y="296"/>
                    </a:lnTo>
                    <a:lnTo>
                      <a:pt x="250" y="305"/>
                    </a:lnTo>
                    <a:lnTo>
                      <a:pt x="191" y="264"/>
                    </a:lnTo>
                    <a:lnTo>
                      <a:pt x="147" y="228"/>
                    </a:lnTo>
                    <a:lnTo>
                      <a:pt x="95" y="182"/>
                    </a:lnTo>
                    <a:lnTo>
                      <a:pt x="52" y="137"/>
                    </a:lnTo>
                    <a:lnTo>
                      <a:pt x="19" y="105"/>
                    </a:lnTo>
                    <a:lnTo>
                      <a:pt x="0" y="60"/>
                    </a:lnTo>
                    <a:lnTo>
                      <a:pt x="17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6" name="Freeform 367"/>
              <p:cNvSpPr>
                <a:spLocks/>
              </p:cNvSpPr>
              <p:nvPr/>
            </p:nvSpPr>
            <p:spPr bwMode="auto">
              <a:xfrm>
                <a:off x="4988" y="1056"/>
                <a:ext cx="151" cy="89"/>
              </a:xfrm>
              <a:custGeom>
                <a:avLst/>
                <a:gdLst>
                  <a:gd name="T0" fmla="*/ 296 w 606"/>
                  <a:gd name="T1" fmla="*/ 304 h 356"/>
                  <a:gd name="T2" fmla="*/ 392 w 606"/>
                  <a:gd name="T3" fmla="*/ 277 h 356"/>
                  <a:gd name="T4" fmla="*/ 470 w 606"/>
                  <a:gd name="T5" fmla="*/ 244 h 356"/>
                  <a:gd name="T6" fmla="*/ 526 w 606"/>
                  <a:gd name="T7" fmla="*/ 204 h 356"/>
                  <a:gd name="T8" fmla="*/ 547 w 606"/>
                  <a:gd name="T9" fmla="*/ 181 h 356"/>
                  <a:gd name="T10" fmla="*/ 468 w 606"/>
                  <a:gd name="T11" fmla="*/ 108 h 356"/>
                  <a:gd name="T12" fmla="*/ 403 w 606"/>
                  <a:gd name="T13" fmla="*/ 69 h 356"/>
                  <a:gd name="T14" fmla="*/ 341 w 606"/>
                  <a:gd name="T15" fmla="*/ 30 h 356"/>
                  <a:gd name="T16" fmla="*/ 327 w 606"/>
                  <a:gd name="T17" fmla="*/ 30 h 356"/>
                  <a:gd name="T18" fmla="*/ 289 w 606"/>
                  <a:gd name="T19" fmla="*/ 43 h 356"/>
                  <a:gd name="T20" fmla="*/ 237 w 606"/>
                  <a:gd name="T21" fmla="*/ 58 h 356"/>
                  <a:gd name="T22" fmla="*/ 145 w 606"/>
                  <a:gd name="T23" fmla="*/ 65 h 356"/>
                  <a:gd name="T24" fmla="*/ 55 w 606"/>
                  <a:gd name="T25" fmla="*/ 63 h 356"/>
                  <a:gd name="T26" fmla="*/ 31 w 606"/>
                  <a:gd name="T27" fmla="*/ 65 h 356"/>
                  <a:gd name="T28" fmla="*/ 31 w 606"/>
                  <a:gd name="T29" fmla="*/ 82 h 356"/>
                  <a:gd name="T30" fmla="*/ 50 w 606"/>
                  <a:gd name="T31" fmla="*/ 108 h 356"/>
                  <a:gd name="T32" fmla="*/ 87 w 606"/>
                  <a:gd name="T33" fmla="*/ 155 h 356"/>
                  <a:gd name="T34" fmla="*/ 134 w 606"/>
                  <a:gd name="T35" fmla="*/ 193 h 356"/>
                  <a:gd name="T36" fmla="*/ 193 w 606"/>
                  <a:gd name="T37" fmla="*/ 250 h 356"/>
                  <a:gd name="T38" fmla="*/ 248 w 606"/>
                  <a:gd name="T39" fmla="*/ 291 h 356"/>
                  <a:gd name="T40" fmla="*/ 283 w 606"/>
                  <a:gd name="T41" fmla="*/ 315 h 356"/>
                  <a:gd name="T42" fmla="*/ 294 w 606"/>
                  <a:gd name="T43" fmla="*/ 340 h 356"/>
                  <a:gd name="T44" fmla="*/ 281 w 606"/>
                  <a:gd name="T45" fmla="*/ 356 h 356"/>
                  <a:gd name="T46" fmla="*/ 261 w 606"/>
                  <a:gd name="T47" fmla="*/ 347 h 356"/>
                  <a:gd name="T48" fmla="*/ 205 w 606"/>
                  <a:gd name="T49" fmla="*/ 296 h 356"/>
                  <a:gd name="T50" fmla="*/ 134 w 606"/>
                  <a:gd name="T51" fmla="*/ 237 h 356"/>
                  <a:gd name="T52" fmla="*/ 83 w 606"/>
                  <a:gd name="T53" fmla="*/ 193 h 356"/>
                  <a:gd name="T54" fmla="*/ 49 w 606"/>
                  <a:gd name="T55" fmla="*/ 155 h 356"/>
                  <a:gd name="T56" fmla="*/ 19 w 606"/>
                  <a:gd name="T57" fmla="*/ 114 h 356"/>
                  <a:gd name="T58" fmla="*/ 6 w 606"/>
                  <a:gd name="T59" fmla="*/ 88 h 356"/>
                  <a:gd name="T60" fmla="*/ 0 w 606"/>
                  <a:gd name="T61" fmla="*/ 58 h 356"/>
                  <a:gd name="T62" fmla="*/ 8 w 606"/>
                  <a:gd name="T63" fmla="*/ 39 h 356"/>
                  <a:gd name="T64" fmla="*/ 30 w 606"/>
                  <a:gd name="T65" fmla="*/ 30 h 356"/>
                  <a:gd name="T66" fmla="*/ 68 w 606"/>
                  <a:gd name="T67" fmla="*/ 33 h 356"/>
                  <a:gd name="T68" fmla="*/ 141 w 606"/>
                  <a:gd name="T69" fmla="*/ 43 h 356"/>
                  <a:gd name="T70" fmla="*/ 204 w 606"/>
                  <a:gd name="T71" fmla="*/ 43 h 356"/>
                  <a:gd name="T72" fmla="*/ 248 w 606"/>
                  <a:gd name="T73" fmla="*/ 30 h 356"/>
                  <a:gd name="T74" fmla="*/ 300 w 606"/>
                  <a:gd name="T75" fmla="*/ 19 h 356"/>
                  <a:gd name="T76" fmla="*/ 321 w 606"/>
                  <a:gd name="T77" fmla="*/ 0 h 356"/>
                  <a:gd name="T78" fmla="*/ 346 w 606"/>
                  <a:gd name="T79" fmla="*/ 0 h 356"/>
                  <a:gd name="T80" fmla="*/ 400 w 606"/>
                  <a:gd name="T81" fmla="*/ 33 h 356"/>
                  <a:gd name="T82" fmla="*/ 457 w 606"/>
                  <a:gd name="T83" fmla="*/ 77 h 356"/>
                  <a:gd name="T84" fmla="*/ 520 w 606"/>
                  <a:gd name="T85" fmla="*/ 117 h 356"/>
                  <a:gd name="T86" fmla="*/ 554 w 606"/>
                  <a:gd name="T87" fmla="*/ 142 h 356"/>
                  <a:gd name="T88" fmla="*/ 590 w 606"/>
                  <a:gd name="T89" fmla="*/ 166 h 356"/>
                  <a:gd name="T90" fmla="*/ 606 w 606"/>
                  <a:gd name="T91" fmla="*/ 174 h 356"/>
                  <a:gd name="T92" fmla="*/ 596 w 606"/>
                  <a:gd name="T93" fmla="*/ 192 h 356"/>
                  <a:gd name="T94" fmla="*/ 571 w 606"/>
                  <a:gd name="T95" fmla="*/ 207 h 356"/>
                  <a:gd name="T96" fmla="*/ 541 w 606"/>
                  <a:gd name="T97" fmla="*/ 233 h 356"/>
                  <a:gd name="T98" fmla="*/ 512 w 606"/>
                  <a:gd name="T99" fmla="*/ 244 h 356"/>
                  <a:gd name="T100" fmla="*/ 462 w 606"/>
                  <a:gd name="T101" fmla="*/ 265 h 356"/>
                  <a:gd name="T102" fmla="*/ 425 w 606"/>
                  <a:gd name="T103" fmla="*/ 282 h 356"/>
                  <a:gd name="T104" fmla="*/ 384 w 606"/>
                  <a:gd name="T105" fmla="*/ 308 h 356"/>
                  <a:gd name="T106" fmla="*/ 341 w 606"/>
                  <a:gd name="T107" fmla="*/ 315 h 356"/>
                  <a:gd name="T108" fmla="*/ 307 w 606"/>
                  <a:gd name="T109" fmla="*/ 317 h 356"/>
                  <a:gd name="T110" fmla="*/ 296 w 606"/>
                  <a:gd name="T111" fmla="*/ 304 h 35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6"/>
                  <a:gd name="T169" fmla="*/ 0 h 356"/>
                  <a:gd name="T170" fmla="*/ 606 w 606"/>
                  <a:gd name="T171" fmla="*/ 356 h 35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6" h="356">
                    <a:moveTo>
                      <a:pt x="296" y="304"/>
                    </a:moveTo>
                    <a:lnTo>
                      <a:pt x="392" y="277"/>
                    </a:lnTo>
                    <a:lnTo>
                      <a:pt x="470" y="244"/>
                    </a:lnTo>
                    <a:lnTo>
                      <a:pt x="526" y="204"/>
                    </a:lnTo>
                    <a:lnTo>
                      <a:pt x="547" y="181"/>
                    </a:lnTo>
                    <a:lnTo>
                      <a:pt x="468" y="108"/>
                    </a:lnTo>
                    <a:lnTo>
                      <a:pt x="403" y="69"/>
                    </a:lnTo>
                    <a:lnTo>
                      <a:pt x="341" y="30"/>
                    </a:lnTo>
                    <a:lnTo>
                      <a:pt x="327" y="30"/>
                    </a:lnTo>
                    <a:lnTo>
                      <a:pt x="289" y="43"/>
                    </a:lnTo>
                    <a:lnTo>
                      <a:pt x="237" y="58"/>
                    </a:lnTo>
                    <a:lnTo>
                      <a:pt x="145" y="65"/>
                    </a:lnTo>
                    <a:lnTo>
                      <a:pt x="55" y="63"/>
                    </a:lnTo>
                    <a:lnTo>
                      <a:pt x="31" y="65"/>
                    </a:lnTo>
                    <a:lnTo>
                      <a:pt x="31" y="82"/>
                    </a:lnTo>
                    <a:lnTo>
                      <a:pt x="50" y="108"/>
                    </a:lnTo>
                    <a:lnTo>
                      <a:pt x="87" y="155"/>
                    </a:lnTo>
                    <a:lnTo>
                      <a:pt x="134" y="193"/>
                    </a:lnTo>
                    <a:lnTo>
                      <a:pt x="193" y="250"/>
                    </a:lnTo>
                    <a:lnTo>
                      <a:pt x="248" y="291"/>
                    </a:lnTo>
                    <a:lnTo>
                      <a:pt x="283" y="315"/>
                    </a:lnTo>
                    <a:lnTo>
                      <a:pt x="294" y="340"/>
                    </a:lnTo>
                    <a:lnTo>
                      <a:pt x="281" y="356"/>
                    </a:lnTo>
                    <a:lnTo>
                      <a:pt x="261" y="347"/>
                    </a:lnTo>
                    <a:lnTo>
                      <a:pt x="205" y="296"/>
                    </a:lnTo>
                    <a:lnTo>
                      <a:pt x="134" y="237"/>
                    </a:lnTo>
                    <a:lnTo>
                      <a:pt x="83" y="193"/>
                    </a:lnTo>
                    <a:lnTo>
                      <a:pt x="49" y="155"/>
                    </a:lnTo>
                    <a:lnTo>
                      <a:pt x="19" y="114"/>
                    </a:lnTo>
                    <a:lnTo>
                      <a:pt x="6" y="88"/>
                    </a:lnTo>
                    <a:lnTo>
                      <a:pt x="0" y="58"/>
                    </a:lnTo>
                    <a:lnTo>
                      <a:pt x="8" y="39"/>
                    </a:lnTo>
                    <a:lnTo>
                      <a:pt x="30" y="30"/>
                    </a:lnTo>
                    <a:lnTo>
                      <a:pt x="68" y="33"/>
                    </a:lnTo>
                    <a:lnTo>
                      <a:pt x="141" y="43"/>
                    </a:lnTo>
                    <a:lnTo>
                      <a:pt x="204" y="43"/>
                    </a:lnTo>
                    <a:lnTo>
                      <a:pt x="248" y="30"/>
                    </a:lnTo>
                    <a:lnTo>
                      <a:pt x="300" y="19"/>
                    </a:lnTo>
                    <a:lnTo>
                      <a:pt x="321" y="0"/>
                    </a:lnTo>
                    <a:lnTo>
                      <a:pt x="346" y="0"/>
                    </a:lnTo>
                    <a:lnTo>
                      <a:pt x="400" y="33"/>
                    </a:lnTo>
                    <a:lnTo>
                      <a:pt x="457" y="77"/>
                    </a:lnTo>
                    <a:lnTo>
                      <a:pt x="520" y="117"/>
                    </a:lnTo>
                    <a:lnTo>
                      <a:pt x="554" y="142"/>
                    </a:lnTo>
                    <a:lnTo>
                      <a:pt x="590" y="166"/>
                    </a:lnTo>
                    <a:lnTo>
                      <a:pt x="606" y="174"/>
                    </a:lnTo>
                    <a:lnTo>
                      <a:pt x="596" y="192"/>
                    </a:lnTo>
                    <a:lnTo>
                      <a:pt x="571" y="207"/>
                    </a:lnTo>
                    <a:lnTo>
                      <a:pt x="541" y="233"/>
                    </a:lnTo>
                    <a:lnTo>
                      <a:pt x="512" y="244"/>
                    </a:lnTo>
                    <a:lnTo>
                      <a:pt x="462" y="265"/>
                    </a:lnTo>
                    <a:lnTo>
                      <a:pt x="425" y="282"/>
                    </a:lnTo>
                    <a:lnTo>
                      <a:pt x="384" y="308"/>
                    </a:lnTo>
                    <a:lnTo>
                      <a:pt x="341" y="315"/>
                    </a:lnTo>
                    <a:lnTo>
                      <a:pt x="307" y="317"/>
                    </a:lnTo>
                    <a:lnTo>
                      <a:pt x="296" y="3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7" name="Freeform 368"/>
              <p:cNvSpPr>
                <a:spLocks/>
              </p:cNvSpPr>
              <p:nvPr/>
            </p:nvSpPr>
            <p:spPr bwMode="auto">
              <a:xfrm>
                <a:off x="5074" y="1124"/>
                <a:ext cx="48" cy="30"/>
              </a:xfrm>
              <a:custGeom>
                <a:avLst/>
                <a:gdLst>
                  <a:gd name="T0" fmla="*/ 162 w 192"/>
                  <a:gd name="T1" fmla="*/ 14 h 123"/>
                  <a:gd name="T2" fmla="*/ 121 w 192"/>
                  <a:gd name="T3" fmla="*/ 47 h 123"/>
                  <a:gd name="T4" fmla="*/ 84 w 192"/>
                  <a:gd name="T5" fmla="*/ 77 h 123"/>
                  <a:gd name="T6" fmla="*/ 30 w 192"/>
                  <a:gd name="T7" fmla="*/ 96 h 123"/>
                  <a:gd name="T8" fmla="*/ 0 w 192"/>
                  <a:gd name="T9" fmla="*/ 106 h 123"/>
                  <a:gd name="T10" fmla="*/ 24 w 192"/>
                  <a:gd name="T11" fmla="*/ 123 h 123"/>
                  <a:gd name="T12" fmla="*/ 63 w 192"/>
                  <a:gd name="T13" fmla="*/ 117 h 123"/>
                  <a:gd name="T14" fmla="*/ 123 w 192"/>
                  <a:gd name="T15" fmla="*/ 77 h 123"/>
                  <a:gd name="T16" fmla="*/ 192 w 192"/>
                  <a:gd name="T17" fmla="*/ 0 h 123"/>
                  <a:gd name="T18" fmla="*/ 162 w 192"/>
                  <a:gd name="T19" fmla="*/ 14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3"/>
                  <a:gd name="T32" fmla="*/ 192 w 192"/>
                  <a:gd name="T33" fmla="*/ 123 h 12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3">
                    <a:moveTo>
                      <a:pt x="162" y="14"/>
                    </a:moveTo>
                    <a:lnTo>
                      <a:pt x="121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6"/>
                    </a:lnTo>
                    <a:lnTo>
                      <a:pt x="24" y="123"/>
                    </a:lnTo>
                    <a:lnTo>
                      <a:pt x="63" y="117"/>
                    </a:lnTo>
                    <a:lnTo>
                      <a:pt x="123" y="77"/>
                    </a:lnTo>
                    <a:lnTo>
                      <a:pt x="192" y="0"/>
                    </a:lnTo>
                    <a:lnTo>
                      <a:pt x="162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6" name="Group 387"/>
            <p:cNvGrpSpPr>
              <a:grpSpLocks/>
            </p:cNvGrpSpPr>
            <p:nvPr/>
          </p:nvGrpSpPr>
          <p:grpSpPr bwMode="auto">
            <a:xfrm>
              <a:off x="4611" y="1142"/>
              <a:ext cx="177" cy="400"/>
              <a:chOff x="4611" y="1142"/>
              <a:chExt cx="177" cy="400"/>
            </a:xfrm>
          </p:grpSpPr>
          <p:sp>
            <p:nvSpPr>
              <p:cNvPr id="164" name="Freeform 370"/>
              <p:cNvSpPr>
                <a:spLocks/>
              </p:cNvSpPr>
              <p:nvPr/>
            </p:nvSpPr>
            <p:spPr bwMode="auto">
              <a:xfrm>
                <a:off x="4614" y="1159"/>
                <a:ext cx="93" cy="377"/>
              </a:xfrm>
              <a:custGeom>
                <a:avLst/>
                <a:gdLst>
                  <a:gd name="T0" fmla="*/ 366 w 372"/>
                  <a:gd name="T1" fmla="*/ 271 h 1508"/>
                  <a:gd name="T2" fmla="*/ 372 w 372"/>
                  <a:gd name="T3" fmla="*/ 326 h 1508"/>
                  <a:gd name="T4" fmla="*/ 372 w 372"/>
                  <a:gd name="T5" fmla="*/ 625 h 1508"/>
                  <a:gd name="T6" fmla="*/ 346 w 372"/>
                  <a:gd name="T7" fmla="*/ 1026 h 1508"/>
                  <a:gd name="T8" fmla="*/ 348 w 372"/>
                  <a:gd name="T9" fmla="*/ 1282 h 1508"/>
                  <a:gd name="T10" fmla="*/ 361 w 372"/>
                  <a:gd name="T11" fmla="*/ 1458 h 1508"/>
                  <a:gd name="T12" fmla="*/ 348 w 372"/>
                  <a:gd name="T13" fmla="*/ 1508 h 1508"/>
                  <a:gd name="T14" fmla="*/ 326 w 372"/>
                  <a:gd name="T15" fmla="*/ 1497 h 1508"/>
                  <a:gd name="T16" fmla="*/ 200 w 372"/>
                  <a:gd name="T17" fmla="*/ 1400 h 1508"/>
                  <a:gd name="T18" fmla="*/ 168 w 372"/>
                  <a:gd name="T19" fmla="*/ 1380 h 1508"/>
                  <a:gd name="T20" fmla="*/ 149 w 372"/>
                  <a:gd name="T21" fmla="*/ 1353 h 1508"/>
                  <a:gd name="T22" fmla="*/ 116 w 372"/>
                  <a:gd name="T23" fmla="*/ 1316 h 1508"/>
                  <a:gd name="T24" fmla="*/ 73 w 372"/>
                  <a:gd name="T25" fmla="*/ 1277 h 1508"/>
                  <a:gd name="T26" fmla="*/ 51 w 372"/>
                  <a:gd name="T27" fmla="*/ 1226 h 1508"/>
                  <a:gd name="T28" fmla="*/ 0 w 372"/>
                  <a:gd name="T29" fmla="*/ 1181 h 1508"/>
                  <a:gd name="T30" fmla="*/ 0 w 372"/>
                  <a:gd name="T31" fmla="*/ 1155 h 1508"/>
                  <a:gd name="T32" fmla="*/ 27 w 372"/>
                  <a:gd name="T33" fmla="*/ 1120 h 1508"/>
                  <a:gd name="T34" fmla="*/ 38 w 372"/>
                  <a:gd name="T35" fmla="*/ 1076 h 1508"/>
                  <a:gd name="T36" fmla="*/ 32 w 372"/>
                  <a:gd name="T37" fmla="*/ 1052 h 1508"/>
                  <a:gd name="T38" fmla="*/ 19 w 372"/>
                  <a:gd name="T39" fmla="*/ 1013 h 1508"/>
                  <a:gd name="T40" fmla="*/ 14 w 372"/>
                  <a:gd name="T41" fmla="*/ 985 h 1508"/>
                  <a:gd name="T42" fmla="*/ 35 w 372"/>
                  <a:gd name="T43" fmla="*/ 942 h 1508"/>
                  <a:gd name="T44" fmla="*/ 35 w 372"/>
                  <a:gd name="T45" fmla="*/ 913 h 1508"/>
                  <a:gd name="T46" fmla="*/ 13 w 372"/>
                  <a:gd name="T47" fmla="*/ 856 h 1508"/>
                  <a:gd name="T48" fmla="*/ 13 w 372"/>
                  <a:gd name="T49" fmla="*/ 823 h 1508"/>
                  <a:gd name="T50" fmla="*/ 25 w 372"/>
                  <a:gd name="T51" fmla="*/ 798 h 1508"/>
                  <a:gd name="T52" fmla="*/ 47 w 372"/>
                  <a:gd name="T53" fmla="*/ 768 h 1508"/>
                  <a:gd name="T54" fmla="*/ 45 w 372"/>
                  <a:gd name="T55" fmla="*/ 717 h 1508"/>
                  <a:gd name="T56" fmla="*/ 32 w 372"/>
                  <a:gd name="T57" fmla="*/ 675 h 1508"/>
                  <a:gd name="T58" fmla="*/ 45 w 372"/>
                  <a:gd name="T59" fmla="*/ 625 h 1508"/>
                  <a:gd name="T60" fmla="*/ 57 w 372"/>
                  <a:gd name="T61" fmla="*/ 613 h 1508"/>
                  <a:gd name="T62" fmla="*/ 47 w 372"/>
                  <a:gd name="T63" fmla="*/ 568 h 1508"/>
                  <a:gd name="T64" fmla="*/ 19 w 372"/>
                  <a:gd name="T65" fmla="*/ 520 h 1508"/>
                  <a:gd name="T66" fmla="*/ 13 w 372"/>
                  <a:gd name="T67" fmla="*/ 489 h 1508"/>
                  <a:gd name="T68" fmla="*/ 19 w 372"/>
                  <a:gd name="T69" fmla="*/ 459 h 1508"/>
                  <a:gd name="T70" fmla="*/ 54 w 372"/>
                  <a:gd name="T71" fmla="*/ 432 h 1508"/>
                  <a:gd name="T72" fmla="*/ 51 w 372"/>
                  <a:gd name="T73" fmla="*/ 410 h 1508"/>
                  <a:gd name="T74" fmla="*/ 14 w 372"/>
                  <a:gd name="T75" fmla="*/ 342 h 1508"/>
                  <a:gd name="T76" fmla="*/ 2 w 372"/>
                  <a:gd name="T77" fmla="*/ 288 h 1508"/>
                  <a:gd name="T78" fmla="*/ 13 w 372"/>
                  <a:gd name="T79" fmla="*/ 258 h 1508"/>
                  <a:gd name="T80" fmla="*/ 47 w 372"/>
                  <a:gd name="T81" fmla="*/ 230 h 1508"/>
                  <a:gd name="T82" fmla="*/ 38 w 372"/>
                  <a:gd name="T83" fmla="*/ 206 h 1508"/>
                  <a:gd name="T84" fmla="*/ 14 w 372"/>
                  <a:gd name="T85" fmla="*/ 179 h 1508"/>
                  <a:gd name="T86" fmla="*/ 14 w 372"/>
                  <a:gd name="T87" fmla="*/ 149 h 1508"/>
                  <a:gd name="T88" fmla="*/ 54 w 372"/>
                  <a:gd name="T89" fmla="*/ 128 h 1508"/>
                  <a:gd name="T90" fmla="*/ 71 w 372"/>
                  <a:gd name="T91" fmla="*/ 107 h 1508"/>
                  <a:gd name="T92" fmla="*/ 38 w 372"/>
                  <a:gd name="T93" fmla="*/ 62 h 1508"/>
                  <a:gd name="T94" fmla="*/ 38 w 372"/>
                  <a:gd name="T95" fmla="*/ 38 h 1508"/>
                  <a:gd name="T96" fmla="*/ 77 w 372"/>
                  <a:gd name="T97" fmla="*/ 24 h 1508"/>
                  <a:gd name="T98" fmla="*/ 79 w 372"/>
                  <a:gd name="T99" fmla="*/ 0 h 1508"/>
                  <a:gd name="T100" fmla="*/ 122 w 372"/>
                  <a:gd name="T101" fmla="*/ 62 h 1508"/>
                  <a:gd name="T102" fmla="*/ 174 w 372"/>
                  <a:gd name="T103" fmla="*/ 127 h 1508"/>
                  <a:gd name="T104" fmla="*/ 239 w 372"/>
                  <a:gd name="T105" fmla="*/ 179 h 1508"/>
                  <a:gd name="T106" fmla="*/ 290 w 372"/>
                  <a:gd name="T107" fmla="*/ 220 h 1508"/>
                  <a:gd name="T108" fmla="*/ 346 w 372"/>
                  <a:gd name="T109" fmla="*/ 252 h 1508"/>
                  <a:gd name="T110" fmla="*/ 366 w 372"/>
                  <a:gd name="T111" fmla="*/ 271 h 15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2"/>
                  <a:gd name="T169" fmla="*/ 0 h 1508"/>
                  <a:gd name="T170" fmla="*/ 372 w 372"/>
                  <a:gd name="T171" fmla="*/ 1508 h 15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2" h="1508">
                    <a:moveTo>
                      <a:pt x="366" y="271"/>
                    </a:moveTo>
                    <a:lnTo>
                      <a:pt x="372" y="326"/>
                    </a:lnTo>
                    <a:lnTo>
                      <a:pt x="372" y="625"/>
                    </a:lnTo>
                    <a:lnTo>
                      <a:pt x="346" y="1026"/>
                    </a:lnTo>
                    <a:lnTo>
                      <a:pt x="348" y="1282"/>
                    </a:lnTo>
                    <a:lnTo>
                      <a:pt x="361" y="1458"/>
                    </a:lnTo>
                    <a:lnTo>
                      <a:pt x="348" y="1508"/>
                    </a:lnTo>
                    <a:lnTo>
                      <a:pt x="326" y="1497"/>
                    </a:lnTo>
                    <a:lnTo>
                      <a:pt x="200" y="1400"/>
                    </a:lnTo>
                    <a:lnTo>
                      <a:pt x="168" y="1380"/>
                    </a:lnTo>
                    <a:lnTo>
                      <a:pt x="149" y="1353"/>
                    </a:lnTo>
                    <a:lnTo>
                      <a:pt x="116" y="1316"/>
                    </a:lnTo>
                    <a:lnTo>
                      <a:pt x="73" y="1277"/>
                    </a:lnTo>
                    <a:lnTo>
                      <a:pt x="51" y="1226"/>
                    </a:lnTo>
                    <a:lnTo>
                      <a:pt x="0" y="1181"/>
                    </a:lnTo>
                    <a:lnTo>
                      <a:pt x="0" y="1155"/>
                    </a:lnTo>
                    <a:lnTo>
                      <a:pt x="27" y="1120"/>
                    </a:lnTo>
                    <a:lnTo>
                      <a:pt x="38" y="1076"/>
                    </a:lnTo>
                    <a:lnTo>
                      <a:pt x="32" y="1052"/>
                    </a:lnTo>
                    <a:lnTo>
                      <a:pt x="19" y="1013"/>
                    </a:lnTo>
                    <a:lnTo>
                      <a:pt x="14" y="985"/>
                    </a:lnTo>
                    <a:lnTo>
                      <a:pt x="35" y="942"/>
                    </a:lnTo>
                    <a:lnTo>
                      <a:pt x="35" y="913"/>
                    </a:lnTo>
                    <a:lnTo>
                      <a:pt x="13" y="856"/>
                    </a:lnTo>
                    <a:lnTo>
                      <a:pt x="13" y="823"/>
                    </a:lnTo>
                    <a:lnTo>
                      <a:pt x="25" y="798"/>
                    </a:lnTo>
                    <a:lnTo>
                      <a:pt x="47" y="768"/>
                    </a:lnTo>
                    <a:lnTo>
                      <a:pt x="45" y="717"/>
                    </a:lnTo>
                    <a:lnTo>
                      <a:pt x="32" y="675"/>
                    </a:lnTo>
                    <a:lnTo>
                      <a:pt x="45" y="625"/>
                    </a:lnTo>
                    <a:lnTo>
                      <a:pt x="57" y="613"/>
                    </a:lnTo>
                    <a:lnTo>
                      <a:pt x="47" y="568"/>
                    </a:lnTo>
                    <a:lnTo>
                      <a:pt x="19" y="520"/>
                    </a:lnTo>
                    <a:lnTo>
                      <a:pt x="13" y="489"/>
                    </a:lnTo>
                    <a:lnTo>
                      <a:pt x="19" y="459"/>
                    </a:lnTo>
                    <a:lnTo>
                      <a:pt x="54" y="432"/>
                    </a:lnTo>
                    <a:lnTo>
                      <a:pt x="51" y="410"/>
                    </a:lnTo>
                    <a:lnTo>
                      <a:pt x="14" y="342"/>
                    </a:lnTo>
                    <a:lnTo>
                      <a:pt x="2" y="288"/>
                    </a:lnTo>
                    <a:lnTo>
                      <a:pt x="13" y="258"/>
                    </a:lnTo>
                    <a:lnTo>
                      <a:pt x="47" y="230"/>
                    </a:lnTo>
                    <a:lnTo>
                      <a:pt x="38" y="206"/>
                    </a:lnTo>
                    <a:lnTo>
                      <a:pt x="14" y="179"/>
                    </a:lnTo>
                    <a:lnTo>
                      <a:pt x="14" y="149"/>
                    </a:lnTo>
                    <a:lnTo>
                      <a:pt x="54" y="128"/>
                    </a:lnTo>
                    <a:lnTo>
                      <a:pt x="71" y="107"/>
                    </a:lnTo>
                    <a:lnTo>
                      <a:pt x="38" y="62"/>
                    </a:lnTo>
                    <a:lnTo>
                      <a:pt x="38" y="38"/>
                    </a:lnTo>
                    <a:lnTo>
                      <a:pt x="77" y="24"/>
                    </a:lnTo>
                    <a:lnTo>
                      <a:pt x="79" y="0"/>
                    </a:lnTo>
                    <a:lnTo>
                      <a:pt x="122" y="62"/>
                    </a:lnTo>
                    <a:lnTo>
                      <a:pt x="174" y="127"/>
                    </a:lnTo>
                    <a:lnTo>
                      <a:pt x="239" y="179"/>
                    </a:lnTo>
                    <a:lnTo>
                      <a:pt x="290" y="220"/>
                    </a:lnTo>
                    <a:lnTo>
                      <a:pt x="346" y="252"/>
                    </a:lnTo>
                    <a:lnTo>
                      <a:pt x="366" y="27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" name="Freeform 371"/>
              <p:cNvSpPr>
                <a:spLocks/>
              </p:cNvSpPr>
              <p:nvPr/>
            </p:nvSpPr>
            <p:spPr bwMode="auto">
              <a:xfrm>
                <a:off x="4611" y="1165"/>
                <a:ext cx="27" cy="287"/>
              </a:xfrm>
              <a:custGeom>
                <a:avLst/>
                <a:gdLst>
                  <a:gd name="T0" fmla="*/ 72 w 106"/>
                  <a:gd name="T1" fmla="*/ 38 h 1149"/>
                  <a:gd name="T2" fmla="*/ 106 w 106"/>
                  <a:gd name="T3" fmla="*/ 79 h 1149"/>
                  <a:gd name="T4" fmla="*/ 85 w 106"/>
                  <a:gd name="T5" fmla="*/ 111 h 1149"/>
                  <a:gd name="T6" fmla="*/ 39 w 106"/>
                  <a:gd name="T7" fmla="*/ 134 h 1149"/>
                  <a:gd name="T8" fmla="*/ 57 w 106"/>
                  <a:gd name="T9" fmla="*/ 167 h 1149"/>
                  <a:gd name="T10" fmla="*/ 78 w 106"/>
                  <a:gd name="T11" fmla="*/ 207 h 1149"/>
                  <a:gd name="T12" fmla="*/ 52 w 106"/>
                  <a:gd name="T13" fmla="*/ 234 h 1149"/>
                  <a:gd name="T14" fmla="*/ 31 w 106"/>
                  <a:gd name="T15" fmla="*/ 266 h 1149"/>
                  <a:gd name="T16" fmla="*/ 52 w 106"/>
                  <a:gd name="T17" fmla="*/ 324 h 1149"/>
                  <a:gd name="T18" fmla="*/ 78 w 106"/>
                  <a:gd name="T19" fmla="*/ 375 h 1149"/>
                  <a:gd name="T20" fmla="*/ 72 w 106"/>
                  <a:gd name="T21" fmla="*/ 421 h 1149"/>
                  <a:gd name="T22" fmla="*/ 39 w 106"/>
                  <a:gd name="T23" fmla="*/ 460 h 1149"/>
                  <a:gd name="T24" fmla="*/ 76 w 106"/>
                  <a:gd name="T25" fmla="*/ 541 h 1149"/>
                  <a:gd name="T26" fmla="*/ 91 w 106"/>
                  <a:gd name="T27" fmla="*/ 593 h 1149"/>
                  <a:gd name="T28" fmla="*/ 63 w 106"/>
                  <a:gd name="T29" fmla="*/ 631 h 1149"/>
                  <a:gd name="T30" fmla="*/ 69 w 106"/>
                  <a:gd name="T31" fmla="*/ 690 h 1149"/>
                  <a:gd name="T32" fmla="*/ 88 w 106"/>
                  <a:gd name="T33" fmla="*/ 748 h 1149"/>
                  <a:gd name="T34" fmla="*/ 66 w 106"/>
                  <a:gd name="T35" fmla="*/ 780 h 1149"/>
                  <a:gd name="T36" fmla="*/ 33 w 106"/>
                  <a:gd name="T37" fmla="*/ 818 h 1149"/>
                  <a:gd name="T38" fmla="*/ 66 w 106"/>
                  <a:gd name="T39" fmla="*/ 889 h 1149"/>
                  <a:gd name="T40" fmla="*/ 78 w 106"/>
                  <a:gd name="T41" fmla="*/ 937 h 1149"/>
                  <a:gd name="T42" fmla="*/ 50 w 106"/>
                  <a:gd name="T43" fmla="*/ 948 h 1149"/>
                  <a:gd name="T44" fmla="*/ 57 w 106"/>
                  <a:gd name="T45" fmla="*/ 1025 h 1149"/>
                  <a:gd name="T46" fmla="*/ 72 w 106"/>
                  <a:gd name="T47" fmla="*/ 1066 h 1149"/>
                  <a:gd name="T48" fmla="*/ 50 w 106"/>
                  <a:gd name="T49" fmla="*/ 1111 h 1149"/>
                  <a:gd name="T50" fmla="*/ 1 w 106"/>
                  <a:gd name="T51" fmla="*/ 1135 h 1149"/>
                  <a:gd name="T52" fmla="*/ 38 w 106"/>
                  <a:gd name="T53" fmla="*/ 1057 h 1149"/>
                  <a:gd name="T54" fmla="*/ 20 w 106"/>
                  <a:gd name="T55" fmla="*/ 992 h 1149"/>
                  <a:gd name="T56" fmla="*/ 25 w 106"/>
                  <a:gd name="T57" fmla="*/ 937 h 1149"/>
                  <a:gd name="T58" fmla="*/ 39 w 106"/>
                  <a:gd name="T59" fmla="*/ 910 h 1149"/>
                  <a:gd name="T60" fmla="*/ 8 w 106"/>
                  <a:gd name="T61" fmla="*/ 840 h 1149"/>
                  <a:gd name="T62" fmla="*/ 8 w 106"/>
                  <a:gd name="T63" fmla="*/ 769 h 1149"/>
                  <a:gd name="T64" fmla="*/ 46 w 106"/>
                  <a:gd name="T65" fmla="*/ 737 h 1149"/>
                  <a:gd name="T66" fmla="*/ 38 w 106"/>
                  <a:gd name="T67" fmla="*/ 685 h 1149"/>
                  <a:gd name="T68" fmla="*/ 27 w 106"/>
                  <a:gd name="T69" fmla="*/ 625 h 1149"/>
                  <a:gd name="T70" fmla="*/ 57 w 106"/>
                  <a:gd name="T71" fmla="*/ 587 h 1149"/>
                  <a:gd name="T72" fmla="*/ 44 w 106"/>
                  <a:gd name="T73" fmla="*/ 544 h 1149"/>
                  <a:gd name="T74" fmla="*/ 8 w 106"/>
                  <a:gd name="T75" fmla="*/ 476 h 1149"/>
                  <a:gd name="T76" fmla="*/ 14 w 106"/>
                  <a:gd name="T77" fmla="*/ 432 h 1149"/>
                  <a:gd name="T78" fmla="*/ 46 w 106"/>
                  <a:gd name="T79" fmla="*/ 395 h 1149"/>
                  <a:gd name="T80" fmla="*/ 12 w 106"/>
                  <a:gd name="T81" fmla="*/ 309 h 1149"/>
                  <a:gd name="T82" fmla="*/ 0 w 106"/>
                  <a:gd name="T83" fmla="*/ 259 h 1149"/>
                  <a:gd name="T84" fmla="*/ 27 w 106"/>
                  <a:gd name="T85" fmla="*/ 221 h 1149"/>
                  <a:gd name="T86" fmla="*/ 39 w 106"/>
                  <a:gd name="T87" fmla="*/ 195 h 1149"/>
                  <a:gd name="T88" fmla="*/ 8 w 106"/>
                  <a:gd name="T89" fmla="*/ 155 h 1149"/>
                  <a:gd name="T90" fmla="*/ 20 w 106"/>
                  <a:gd name="T91" fmla="*/ 115 h 1149"/>
                  <a:gd name="T92" fmla="*/ 57 w 106"/>
                  <a:gd name="T93" fmla="*/ 90 h 1149"/>
                  <a:gd name="T94" fmla="*/ 58 w 106"/>
                  <a:gd name="T95" fmla="*/ 60 h 1149"/>
                  <a:gd name="T96" fmla="*/ 39 w 106"/>
                  <a:gd name="T97" fmla="*/ 20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6"/>
                  <a:gd name="T148" fmla="*/ 0 h 1149"/>
                  <a:gd name="T149" fmla="*/ 106 w 106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6" h="1149">
                    <a:moveTo>
                      <a:pt x="52" y="0"/>
                    </a:moveTo>
                    <a:lnTo>
                      <a:pt x="72" y="38"/>
                    </a:lnTo>
                    <a:lnTo>
                      <a:pt x="88" y="63"/>
                    </a:lnTo>
                    <a:lnTo>
                      <a:pt x="106" y="79"/>
                    </a:lnTo>
                    <a:lnTo>
                      <a:pt x="102" y="98"/>
                    </a:lnTo>
                    <a:lnTo>
                      <a:pt x="85" y="111"/>
                    </a:lnTo>
                    <a:lnTo>
                      <a:pt x="58" y="117"/>
                    </a:lnTo>
                    <a:lnTo>
                      <a:pt x="39" y="134"/>
                    </a:lnTo>
                    <a:lnTo>
                      <a:pt x="44" y="155"/>
                    </a:lnTo>
                    <a:lnTo>
                      <a:pt x="57" y="167"/>
                    </a:lnTo>
                    <a:lnTo>
                      <a:pt x="78" y="193"/>
                    </a:lnTo>
                    <a:lnTo>
                      <a:pt x="78" y="207"/>
                    </a:lnTo>
                    <a:lnTo>
                      <a:pt x="72" y="221"/>
                    </a:lnTo>
                    <a:lnTo>
                      <a:pt x="52" y="234"/>
                    </a:lnTo>
                    <a:lnTo>
                      <a:pt x="33" y="247"/>
                    </a:lnTo>
                    <a:lnTo>
                      <a:pt x="31" y="266"/>
                    </a:lnTo>
                    <a:lnTo>
                      <a:pt x="38" y="285"/>
                    </a:lnTo>
                    <a:lnTo>
                      <a:pt x="52" y="324"/>
                    </a:lnTo>
                    <a:lnTo>
                      <a:pt x="66" y="354"/>
                    </a:lnTo>
                    <a:lnTo>
                      <a:pt x="78" y="375"/>
                    </a:lnTo>
                    <a:lnTo>
                      <a:pt x="78" y="399"/>
                    </a:lnTo>
                    <a:lnTo>
                      <a:pt x="72" y="421"/>
                    </a:lnTo>
                    <a:lnTo>
                      <a:pt x="52" y="440"/>
                    </a:lnTo>
                    <a:lnTo>
                      <a:pt x="39" y="460"/>
                    </a:lnTo>
                    <a:lnTo>
                      <a:pt x="44" y="492"/>
                    </a:lnTo>
                    <a:lnTo>
                      <a:pt x="76" y="541"/>
                    </a:lnTo>
                    <a:lnTo>
                      <a:pt x="88" y="568"/>
                    </a:lnTo>
                    <a:lnTo>
                      <a:pt x="91" y="593"/>
                    </a:lnTo>
                    <a:lnTo>
                      <a:pt x="78" y="612"/>
                    </a:lnTo>
                    <a:lnTo>
                      <a:pt x="63" y="631"/>
                    </a:lnTo>
                    <a:lnTo>
                      <a:pt x="58" y="658"/>
                    </a:lnTo>
                    <a:lnTo>
                      <a:pt x="69" y="690"/>
                    </a:lnTo>
                    <a:lnTo>
                      <a:pt x="82" y="724"/>
                    </a:lnTo>
                    <a:lnTo>
                      <a:pt x="88" y="748"/>
                    </a:lnTo>
                    <a:lnTo>
                      <a:pt x="82" y="763"/>
                    </a:lnTo>
                    <a:lnTo>
                      <a:pt x="66" y="780"/>
                    </a:lnTo>
                    <a:lnTo>
                      <a:pt x="44" y="799"/>
                    </a:lnTo>
                    <a:lnTo>
                      <a:pt x="33" y="818"/>
                    </a:lnTo>
                    <a:lnTo>
                      <a:pt x="44" y="853"/>
                    </a:lnTo>
                    <a:lnTo>
                      <a:pt x="66" y="889"/>
                    </a:lnTo>
                    <a:lnTo>
                      <a:pt x="76" y="916"/>
                    </a:lnTo>
                    <a:lnTo>
                      <a:pt x="78" y="937"/>
                    </a:lnTo>
                    <a:lnTo>
                      <a:pt x="72" y="948"/>
                    </a:lnTo>
                    <a:lnTo>
                      <a:pt x="50" y="948"/>
                    </a:lnTo>
                    <a:lnTo>
                      <a:pt x="44" y="995"/>
                    </a:lnTo>
                    <a:lnTo>
                      <a:pt x="57" y="1025"/>
                    </a:lnTo>
                    <a:lnTo>
                      <a:pt x="69" y="1047"/>
                    </a:lnTo>
                    <a:lnTo>
                      <a:pt x="72" y="1066"/>
                    </a:lnTo>
                    <a:lnTo>
                      <a:pt x="72" y="1084"/>
                    </a:lnTo>
                    <a:lnTo>
                      <a:pt x="50" y="1111"/>
                    </a:lnTo>
                    <a:lnTo>
                      <a:pt x="20" y="1149"/>
                    </a:lnTo>
                    <a:lnTo>
                      <a:pt x="1" y="1135"/>
                    </a:lnTo>
                    <a:lnTo>
                      <a:pt x="8" y="1105"/>
                    </a:lnTo>
                    <a:lnTo>
                      <a:pt x="38" y="1057"/>
                    </a:lnTo>
                    <a:lnTo>
                      <a:pt x="33" y="1027"/>
                    </a:lnTo>
                    <a:lnTo>
                      <a:pt x="20" y="992"/>
                    </a:lnTo>
                    <a:lnTo>
                      <a:pt x="12" y="962"/>
                    </a:lnTo>
                    <a:lnTo>
                      <a:pt x="25" y="937"/>
                    </a:lnTo>
                    <a:lnTo>
                      <a:pt x="38" y="929"/>
                    </a:lnTo>
                    <a:lnTo>
                      <a:pt x="39" y="910"/>
                    </a:lnTo>
                    <a:lnTo>
                      <a:pt x="25" y="872"/>
                    </a:lnTo>
                    <a:lnTo>
                      <a:pt x="8" y="840"/>
                    </a:lnTo>
                    <a:lnTo>
                      <a:pt x="0" y="808"/>
                    </a:lnTo>
                    <a:lnTo>
                      <a:pt x="8" y="769"/>
                    </a:lnTo>
                    <a:lnTo>
                      <a:pt x="38" y="755"/>
                    </a:lnTo>
                    <a:lnTo>
                      <a:pt x="46" y="737"/>
                    </a:lnTo>
                    <a:lnTo>
                      <a:pt x="44" y="712"/>
                    </a:lnTo>
                    <a:lnTo>
                      <a:pt x="38" y="685"/>
                    </a:lnTo>
                    <a:lnTo>
                      <a:pt x="27" y="652"/>
                    </a:lnTo>
                    <a:lnTo>
                      <a:pt x="27" y="625"/>
                    </a:lnTo>
                    <a:lnTo>
                      <a:pt x="39" y="608"/>
                    </a:lnTo>
                    <a:lnTo>
                      <a:pt x="57" y="587"/>
                    </a:lnTo>
                    <a:lnTo>
                      <a:pt x="57" y="574"/>
                    </a:lnTo>
                    <a:lnTo>
                      <a:pt x="44" y="544"/>
                    </a:lnTo>
                    <a:lnTo>
                      <a:pt x="19" y="505"/>
                    </a:lnTo>
                    <a:lnTo>
                      <a:pt x="8" y="476"/>
                    </a:lnTo>
                    <a:lnTo>
                      <a:pt x="8" y="454"/>
                    </a:lnTo>
                    <a:lnTo>
                      <a:pt x="14" y="432"/>
                    </a:lnTo>
                    <a:lnTo>
                      <a:pt x="31" y="414"/>
                    </a:lnTo>
                    <a:lnTo>
                      <a:pt x="46" y="395"/>
                    </a:lnTo>
                    <a:lnTo>
                      <a:pt x="46" y="380"/>
                    </a:lnTo>
                    <a:lnTo>
                      <a:pt x="12" y="309"/>
                    </a:lnTo>
                    <a:lnTo>
                      <a:pt x="6" y="283"/>
                    </a:lnTo>
                    <a:lnTo>
                      <a:pt x="0" y="259"/>
                    </a:lnTo>
                    <a:lnTo>
                      <a:pt x="12" y="237"/>
                    </a:lnTo>
                    <a:lnTo>
                      <a:pt x="27" y="221"/>
                    </a:lnTo>
                    <a:lnTo>
                      <a:pt x="39" y="207"/>
                    </a:lnTo>
                    <a:lnTo>
                      <a:pt x="39" y="195"/>
                    </a:lnTo>
                    <a:lnTo>
                      <a:pt x="27" y="175"/>
                    </a:lnTo>
                    <a:lnTo>
                      <a:pt x="8" y="155"/>
                    </a:lnTo>
                    <a:lnTo>
                      <a:pt x="8" y="134"/>
                    </a:lnTo>
                    <a:lnTo>
                      <a:pt x="20" y="115"/>
                    </a:lnTo>
                    <a:lnTo>
                      <a:pt x="39" y="98"/>
                    </a:lnTo>
                    <a:lnTo>
                      <a:pt x="57" y="90"/>
                    </a:lnTo>
                    <a:lnTo>
                      <a:pt x="66" y="77"/>
                    </a:lnTo>
                    <a:lnTo>
                      <a:pt x="58" y="60"/>
                    </a:lnTo>
                    <a:lnTo>
                      <a:pt x="46" y="41"/>
                    </a:lnTo>
                    <a:lnTo>
                      <a:pt x="39" y="20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6" name="Freeform 372"/>
              <p:cNvSpPr>
                <a:spLocks/>
              </p:cNvSpPr>
              <p:nvPr/>
            </p:nvSpPr>
            <p:spPr bwMode="auto">
              <a:xfrm>
                <a:off x="4683" y="1235"/>
                <a:ext cx="26" cy="232"/>
              </a:xfrm>
              <a:custGeom>
                <a:avLst/>
                <a:gdLst>
                  <a:gd name="T0" fmla="*/ 91 w 102"/>
                  <a:gd name="T1" fmla="*/ 26 h 930"/>
                  <a:gd name="T2" fmla="*/ 96 w 102"/>
                  <a:gd name="T3" fmla="*/ 90 h 930"/>
                  <a:gd name="T4" fmla="*/ 53 w 102"/>
                  <a:gd name="T5" fmla="*/ 117 h 930"/>
                  <a:gd name="T6" fmla="*/ 66 w 102"/>
                  <a:gd name="T7" fmla="*/ 188 h 930"/>
                  <a:gd name="T8" fmla="*/ 85 w 102"/>
                  <a:gd name="T9" fmla="*/ 256 h 930"/>
                  <a:gd name="T10" fmla="*/ 59 w 102"/>
                  <a:gd name="T11" fmla="*/ 291 h 930"/>
                  <a:gd name="T12" fmla="*/ 66 w 102"/>
                  <a:gd name="T13" fmla="*/ 349 h 930"/>
                  <a:gd name="T14" fmla="*/ 85 w 102"/>
                  <a:gd name="T15" fmla="*/ 411 h 930"/>
                  <a:gd name="T16" fmla="*/ 72 w 102"/>
                  <a:gd name="T17" fmla="*/ 457 h 930"/>
                  <a:gd name="T18" fmla="*/ 50 w 102"/>
                  <a:gd name="T19" fmla="*/ 497 h 930"/>
                  <a:gd name="T20" fmla="*/ 79 w 102"/>
                  <a:gd name="T21" fmla="*/ 579 h 930"/>
                  <a:gd name="T22" fmla="*/ 85 w 102"/>
                  <a:gd name="T23" fmla="*/ 633 h 930"/>
                  <a:gd name="T24" fmla="*/ 37 w 102"/>
                  <a:gd name="T25" fmla="*/ 671 h 930"/>
                  <a:gd name="T26" fmla="*/ 50 w 102"/>
                  <a:gd name="T27" fmla="*/ 753 h 930"/>
                  <a:gd name="T28" fmla="*/ 64 w 102"/>
                  <a:gd name="T29" fmla="*/ 824 h 930"/>
                  <a:gd name="T30" fmla="*/ 37 w 102"/>
                  <a:gd name="T31" fmla="*/ 865 h 930"/>
                  <a:gd name="T32" fmla="*/ 24 w 102"/>
                  <a:gd name="T33" fmla="*/ 921 h 930"/>
                  <a:gd name="T34" fmla="*/ 11 w 102"/>
                  <a:gd name="T35" fmla="*/ 897 h 930"/>
                  <a:gd name="T36" fmla="*/ 37 w 102"/>
                  <a:gd name="T37" fmla="*/ 832 h 930"/>
                  <a:gd name="T38" fmla="*/ 24 w 102"/>
                  <a:gd name="T39" fmla="*/ 736 h 930"/>
                  <a:gd name="T40" fmla="*/ 18 w 102"/>
                  <a:gd name="T41" fmla="*/ 665 h 930"/>
                  <a:gd name="T42" fmla="*/ 53 w 102"/>
                  <a:gd name="T43" fmla="*/ 617 h 930"/>
                  <a:gd name="T44" fmla="*/ 24 w 102"/>
                  <a:gd name="T45" fmla="*/ 549 h 930"/>
                  <a:gd name="T46" fmla="*/ 18 w 102"/>
                  <a:gd name="T47" fmla="*/ 484 h 930"/>
                  <a:gd name="T48" fmla="*/ 44 w 102"/>
                  <a:gd name="T49" fmla="*/ 433 h 930"/>
                  <a:gd name="T50" fmla="*/ 56 w 102"/>
                  <a:gd name="T51" fmla="*/ 394 h 930"/>
                  <a:gd name="T52" fmla="*/ 31 w 102"/>
                  <a:gd name="T53" fmla="*/ 329 h 930"/>
                  <a:gd name="T54" fmla="*/ 37 w 102"/>
                  <a:gd name="T55" fmla="*/ 275 h 930"/>
                  <a:gd name="T56" fmla="*/ 53 w 102"/>
                  <a:gd name="T57" fmla="*/ 237 h 930"/>
                  <a:gd name="T58" fmla="*/ 34 w 102"/>
                  <a:gd name="T59" fmla="*/ 179 h 930"/>
                  <a:gd name="T60" fmla="*/ 26 w 102"/>
                  <a:gd name="T61" fmla="*/ 114 h 930"/>
                  <a:gd name="T62" fmla="*/ 56 w 102"/>
                  <a:gd name="T63" fmla="*/ 71 h 930"/>
                  <a:gd name="T64" fmla="*/ 59 w 102"/>
                  <a:gd name="T65" fmla="*/ 30 h 930"/>
                  <a:gd name="T66" fmla="*/ 79 w 102"/>
                  <a:gd name="T67" fmla="*/ 0 h 93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2"/>
                  <a:gd name="T103" fmla="*/ 0 h 930"/>
                  <a:gd name="T104" fmla="*/ 102 w 102"/>
                  <a:gd name="T105" fmla="*/ 930 h 93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2" h="930">
                    <a:moveTo>
                      <a:pt x="79" y="0"/>
                    </a:moveTo>
                    <a:lnTo>
                      <a:pt x="91" y="26"/>
                    </a:lnTo>
                    <a:lnTo>
                      <a:pt x="102" y="71"/>
                    </a:lnTo>
                    <a:lnTo>
                      <a:pt x="96" y="90"/>
                    </a:lnTo>
                    <a:lnTo>
                      <a:pt x="70" y="104"/>
                    </a:lnTo>
                    <a:lnTo>
                      <a:pt x="53" y="117"/>
                    </a:lnTo>
                    <a:lnTo>
                      <a:pt x="53" y="153"/>
                    </a:lnTo>
                    <a:lnTo>
                      <a:pt x="66" y="188"/>
                    </a:lnTo>
                    <a:lnTo>
                      <a:pt x="83" y="212"/>
                    </a:lnTo>
                    <a:lnTo>
                      <a:pt x="85" y="256"/>
                    </a:lnTo>
                    <a:lnTo>
                      <a:pt x="77" y="272"/>
                    </a:lnTo>
                    <a:lnTo>
                      <a:pt x="59" y="291"/>
                    </a:lnTo>
                    <a:lnTo>
                      <a:pt x="56" y="321"/>
                    </a:lnTo>
                    <a:lnTo>
                      <a:pt x="66" y="349"/>
                    </a:lnTo>
                    <a:lnTo>
                      <a:pt x="79" y="373"/>
                    </a:lnTo>
                    <a:lnTo>
                      <a:pt x="85" y="411"/>
                    </a:lnTo>
                    <a:lnTo>
                      <a:pt x="85" y="433"/>
                    </a:lnTo>
                    <a:lnTo>
                      <a:pt x="72" y="457"/>
                    </a:lnTo>
                    <a:lnTo>
                      <a:pt x="50" y="478"/>
                    </a:lnTo>
                    <a:lnTo>
                      <a:pt x="50" y="497"/>
                    </a:lnTo>
                    <a:lnTo>
                      <a:pt x="56" y="555"/>
                    </a:lnTo>
                    <a:lnTo>
                      <a:pt x="79" y="579"/>
                    </a:lnTo>
                    <a:lnTo>
                      <a:pt x="91" y="604"/>
                    </a:lnTo>
                    <a:lnTo>
                      <a:pt x="85" y="633"/>
                    </a:lnTo>
                    <a:lnTo>
                      <a:pt x="53" y="652"/>
                    </a:lnTo>
                    <a:lnTo>
                      <a:pt x="37" y="671"/>
                    </a:lnTo>
                    <a:lnTo>
                      <a:pt x="34" y="707"/>
                    </a:lnTo>
                    <a:lnTo>
                      <a:pt x="50" y="753"/>
                    </a:lnTo>
                    <a:lnTo>
                      <a:pt x="64" y="799"/>
                    </a:lnTo>
                    <a:lnTo>
                      <a:pt x="64" y="824"/>
                    </a:lnTo>
                    <a:lnTo>
                      <a:pt x="56" y="859"/>
                    </a:lnTo>
                    <a:lnTo>
                      <a:pt x="37" y="865"/>
                    </a:lnTo>
                    <a:lnTo>
                      <a:pt x="24" y="891"/>
                    </a:lnTo>
                    <a:lnTo>
                      <a:pt x="24" y="921"/>
                    </a:lnTo>
                    <a:lnTo>
                      <a:pt x="0" y="930"/>
                    </a:lnTo>
                    <a:lnTo>
                      <a:pt x="11" y="897"/>
                    </a:lnTo>
                    <a:lnTo>
                      <a:pt x="31" y="859"/>
                    </a:lnTo>
                    <a:lnTo>
                      <a:pt x="37" y="832"/>
                    </a:lnTo>
                    <a:lnTo>
                      <a:pt x="37" y="781"/>
                    </a:lnTo>
                    <a:lnTo>
                      <a:pt x="24" y="736"/>
                    </a:lnTo>
                    <a:lnTo>
                      <a:pt x="20" y="701"/>
                    </a:lnTo>
                    <a:lnTo>
                      <a:pt x="18" y="665"/>
                    </a:lnTo>
                    <a:lnTo>
                      <a:pt x="40" y="637"/>
                    </a:lnTo>
                    <a:lnTo>
                      <a:pt x="53" y="617"/>
                    </a:lnTo>
                    <a:lnTo>
                      <a:pt x="44" y="579"/>
                    </a:lnTo>
                    <a:lnTo>
                      <a:pt x="24" y="549"/>
                    </a:lnTo>
                    <a:lnTo>
                      <a:pt x="20" y="523"/>
                    </a:lnTo>
                    <a:lnTo>
                      <a:pt x="18" y="484"/>
                    </a:lnTo>
                    <a:lnTo>
                      <a:pt x="26" y="459"/>
                    </a:lnTo>
                    <a:lnTo>
                      <a:pt x="44" y="433"/>
                    </a:lnTo>
                    <a:lnTo>
                      <a:pt x="56" y="413"/>
                    </a:lnTo>
                    <a:lnTo>
                      <a:pt x="56" y="394"/>
                    </a:lnTo>
                    <a:lnTo>
                      <a:pt x="44" y="373"/>
                    </a:lnTo>
                    <a:lnTo>
                      <a:pt x="31" y="329"/>
                    </a:lnTo>
                    <a:lnTo>
                      <a:pt x="31" y="302"/>
                    </a:lnTo>
                    <a:lnTo>
                      <a:pt x="37" y="275"/>
                    </a:lnTo>
                    <a:lnTo>
                      <a:pt x="50" y="256"/>
                    </a:lnTo>
                    <a:lnTo>
                      <a:pt x="53" y="237"/>
                    </a:lnTo>
                    <a:lnTo>
                      <a:pt x="50" y="213"/>
                    </a:lnTo>
                    <a:lnTo>
                      <a:pt x="34" y="179"/>
                    </a:lnTo>
                    <a:lnTo>
                      <a:pt x="24" y="155"/>
                    </a:lnTo>
                    <a:lnTo>
                      <a:pt x="26" y="114"/>
                    </a:lnTo>
                    <a:lnTo>
                      <a:pt x="40" y="98"/>
                    </a:lnTo>
                    <a:lnTo>
                      <a:pt x="56" y="71"/>
                    </a:lnTo>
                    <a:lnTo>
                      <a:pt x="66" y="50"/>
                    </a:lnTo>
                    <a:lnTo>
                      <a:pt x="59" y="30"/>
                    </a:lnTo>
                    <a:lnTo>
                      <a:pt x="64" y="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7" name="Freeform 373"/>
              <p:cNvSpPr>
                <a:spLocks/>
              </p:cNvSpPr>
              <p:nvPr/>
            </p:nvSpPr>
            <p:spPr bwMode="auto">
              <a:xfrm>
                <a:off x="4643" y="1207"/>
                <a:ext cx="58" cy="50"/>
              </a:xfrm>
              <a:custGeom>
                <a:avLst/>
                <a:gdLst>
                  <a:gd name="T0" fmla="*/ 233 w 233"/>
                  <a:gd name="T1" fmla="*/ 162 h 200"/>
                  <a:gd name="T2" fmla="*/ 162 w 233"/>
                  <a:gd name="T3" fmla="*/ 104 h 200"/>
                  <a:gd name="T4" fmla="*/ 103 w 233"/>
                  <a:gd name="T5" fmla="*/ 51 h 200"/>
                  <a:gd name="T6" fmla="*/ 49 w 233"/>
                  <a:gd name="T7" fmla="*/ 0 h 200"/>
                  <a:gd name="T8" fmla="*/ 0 w 233"/>
                  <a:gd name="T9" fmla="*/ 0 h 200"/>
                  <a:gd name="T10" fmla="*/ 117 w 233"/>
                  <a:gd name="T11" fmla="*/ 84 h 200"/>
                  <a:gd name="T12" fmla="*/ 173 w 233"/>
                  <a:gd name="T13" fmla="*/ 136 h 200"/>
                  <a:gd name="T14" fmla="*/ 220 w 233"/>
                  <a:gd name="T15" fmla="*/ 200 h 200"/>
                  <a:gd name="T16" fmla="*/ 233 w 233"/>
                  <a:gd name="T17" fmla="*/ 162 h 2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3"/>
                  <a:gd name="T28" fmla="*/ 0 h 200"/>
                  <a:gd name="T29" fmla="*/ 233 w 233"/>
                  <a:gd name="T30" fmla="*/ 200 h 2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3" h="200">
                    <a:moveTo>
                      <a:pt x="233" y="162"/>
                    </a:moveTo>
                    <a:lnTo>
                      <a:pt x="162" y="104"/>
                    </a:lnTo>
                    <a:lnTo>
                      <a:pt x="103" y="51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117" y="84"/>
                    </a:lnTo>
                    <a:lnTo>
                      <a:pt x="173" y="136"/>
                    </a:lnTo>
                    <a:lnTo>
                      <a:pt x="220" y="200"/>
                    </a:lnTo>
                    <a:lnTo>
                      <a:pt x="233" y="1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8" name="Freeform 374"/>
              <p:cNvSpPr>
                <a:spLocks/>
              </p:cNvSpPr>
              <p:nvPr/>
            </p:nvSpPr>
            <p:spPr bwMode="auto">
              <a:xfrm>
                <a:off x="4642" y="1236"/>
                <a:ext cx="51" cy="41"/>
              </a:xfrm>
              <a:custGeom>
                <a:avLst/>
                <a:gdLst>
                  <a:gd name="T0" fmla="*/ 200 w 200"/>
                  <a:gd name="T1" fmla="*/ 103 h 163"/>
                  <a:gd name="T2" fmla="*/ 149 w 200"/>
                  <a:gd name="T3" fmla="*/ 84 h 163"/>
                  <a:gd name="T4" fmla="*/ 110 w 200"/>
                  <a:gd name="T5" fmla="*/ 52 h 163"/>
                  <a:gd name="T6" fmla="*/ 39 w 200"/>
                  <a:gd name="T7" fmla="*/ 0 h 163"/>
                  <a:gd name="T8" fmla="*/ 0 w 200"/>
                  <a:gd name="T9" fmla="*/ 0 h 163"/>
                  <a:gd name="T10" fmla="*/ 91 w 200"/>
                  <a:gd name="T11" fmla="*/ 52 h 163"/>
                  <a:gd name="T12" fmla="*/ 126 w 200"/>
                  <a:gd name="T13" fmla="*/ 86 h 163"/>
                  <a:gd name="T14" fmla="*/ 200 w 200"/>
                  <a:gd name="T15" fmla="*/ 163 h 163"/>
                  <a:gd name="T16" fmla="*/ 197 w 200"/>
                  <a:gd name="T17" fmla="*/ 116 h 163"/>
                  <a:gd name="T18" fmla="*/ 200 w 200"/>
                  <a:gd name="T19" fmla="*/ 103 h 1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0"/>
                  <a:gd name="T31" fmla="*/ 0 h 163"/>
                  <a:gd name="T32" fmla="*/ 200 w 200"/>
                  <a:gd name="T33" fmla="*/ 163 h 1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0" h="163">
                    <a:moveTo>
                      <a:pt x="200" y="103"/>
                    </a:moveTo>
                    <a:lnTo>
                      <a:pt x="149" y="84"/>
                    </a:lnTo>
                    <a:lnTo>
                      <a:pt x="110" y="52"/>
                    </a:lnTo>
                    <a:lnTo>
                      <a:pt x="39" y="0"/>
                    </a:lnTo>
                    <a:lnTo>
                      <a:pt x="0" y="0"/>
                    </a:lnTo>
                    <a:lnTo>
                      <a:pt x="91" y="52"/>
                    </a:lnTo>
                    <a:lnTo>
                      <a:pt x="126" y="86"/>
                    </a:lnTo>
                    <a:lnTo>
                      <a:pt x="200" y="163"/>
                    </a:lnTo>
                    <a:lnTo>
                      <a:pt x="197" y="116"/>
                    </a:lnTo>
                    <a:lnTo>
                      <a:pt x="200" y="1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9" name="Freeform 375"/>
              <p:cNvSpPr>
                <a:spLocks/>
              </p:cNvSpPr>
              <p:nvPr/>
            </p:nvSpPr>
            <p:spPr bwMode="auto">
              <a:xfrm>
                <a:off x="4635" y="1260"/>
                <a:ext cx="59" cy="63"/>
              </a:xfrm>
              <a:custGeom>
                <a:avLst/>
                <a:gdLst>
                  <a:gd name="T0" fmla="*/ 231 w 236"/>
                  <a:gd name="T1" fmla="*/ 190 h 253"/>
                  <a:gd name="T2" fmla="*/ 167 w 236"/>
                  <a:gd name="T3" fmla="*/ 132 h 253"/>
                  <a:gd name="T4" fmla="*/ 141 w 236"/>
                  <a:gd name="T5" fmla="*/ 93 h 253"/>
                  <a:gd name="T6" fmla="*/ 90 w 236"/>
                  <a:gd name="T7" fmla="*/ 54 h 253"/>
                  <a:gd name="T8" fmla="*/ 44 w 236"/>
                  <a:gd name="T9" fmla="*/ 20 h 253"/>
                  <a:gd name="T10" fmla="*/ 12 w 236"/>
                  <a:gd name="T11" fmla="*/ 0 h 253"/>
                  <a:gd name="T12" fmla="*/ 0 w 236"/>
                  <a:gd name="T13" fmla="*/ 0 h 253"/>
                  <a:gd name="T14" fmla="*/ 0 w 236"/>
                  <a:gd name="T15" fmla="*/ 20 h 253"/>
                  <a:gd name="T16" fmla="*/ 38 w 236"/>
                  <a:gd name="T17" fmla="*/ 46 h 253"/>
                  <a:gd name="T18" fmla="*/ 109 w 236"/>
                  <a:gd name="T19" fmla="*/ 91 h 253"/>
                  <a:gd name="T20" fmla="*/ 161 w 236"/>
                  <a:gd name="T21" fmla="*/ 143 h 253"/>
                  <a:gd name="T22" fmla="*/ 197 w 236"/>
                  <a:gd name="T23" fmla="*/ 201 h 253"/>
                  <a:gd name="T24" fmla="*/ 236 w 236"/>
                  <a:gd name="T25" fmla="*/ 253 h 253"/>
                  <a:gd name="T26" fmla="*/ 231 w 236"/>
                  <a:gd name="T27" fmla="*/ 190 h 25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6"/>
                  <a:gd name="T43" fmla="*/ 0 h 253"/>
                  <a:gd name="T44" fmla="*/ 236 w 236"/>
                  <a:gd name="T45" fmla="*/ 253 h 25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6" h="253">
                    <a:moveTo>
                      <a:pt x="231" y="190"/>
                    </a:moveTo>
                    <a:lnTo>
                      <a:pt x="167" y="132"/>
                    </a:lnTo>
                    <a:lnTo>
                      <a:pt x="141" y="93"/>
                    </a:lnTo>
                    <a:lnTo>
                      <a:pt x="90" y="54"/>
                    </a:lnTo>
                    <a:lnTo>
                      <a:pt x="44" y="2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38" y="46"/>
                    </a:lnTo>
                    <a:lnTo>
                      <a:pt x="109" y="91"/>
                    </a:lnTo>
                    <a:lnTo>
                      <a:pt x="161" y="143"/>
                    </a:lnTo>
                    <a:lnTo>
                      <a:pt x="197" y="201"/>
                    </a:lnTo>
                    <a:lnTo>
                      <a:pt x="236" y="253"/>
                    </a:lnTo>
                    <a:lnTo>
                      <a:pt x="231" y="1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0" name="Freeform 376"/>
              <p:cNvSpPr>
                <a:spLocks/>
              </p:cNvSpPr>
              <p:nvPr/>
            </p:nvSpPr>
            <p:spPr bwMode="auto">
              <a:xfrm>
                <a:off x="4641" y="1312"/>
                <a:ext cx="46" cy="37"/>
              </a:xfrm>
              <a:custGeom>
                <a:avLst/>
                <a:gdLst>
                  <a:gd name="T0" fmla="*/ 182 w 182"/>
                  <a:gd name="T1" fmla="*/ 122 h 149"/>
                  <a:gd name="T2" fmla="*/ 131 w 182"/>
                  <a:gd name="T3" fmla="*/ 67 h 149"/>
                  <a:gd name="T4" fmla="*/ 77 w 182"/>
                  <a:gd name="T5" fmla="*/ 32 h 149"/>
                  <a:gd name="T6" fmla="*/ 32 w 182"/>
                  <a:gd name="T7" fmla="*/ 8 h 149"/>
                  <a:gd name="T8" fmla="*/ 0 w 182"/>
                  <a:gd name="T9" fmla="*/ 0 h 149"/>
                  <a:gd name="T10" fmla="*/ 19 w 182"/>
                  <a:gd name="T11" fmla="*/ 32 h 149"/>
                  <a:gd name="T12" fmla="*/ 77 w 182"/>
                  <a:gd name="T13" fmla="*/ 65 h 149"/>
                  <a:gd name="T14" fmla="*/ 122 w 182"/>
                  <a:gd name="T15" fmla="*/ 112 h 149"/>
                  <a:gd name="T16" fmla="*/ 144 w 182"/>
                  <a:gd name="T17" fmla="*/ 143 h 149"/>
                  <a:gd name="T18" fmla="*/ 163 w 182"/>
                  <a:gd name="T19" fmla="*/ 149 h 149"/>
                  <a:gd name="T20" fmla="*/ 180 w 182"/>
                  <a:gd name="T21" fmla="*/ 138 h 149"/>
                  <a:gd name="T22" fmla="*/ 182 w 182"/>
                  <a:gd name="T23" fmla="*/ 122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2"/>
                  <a:gd name="T37" fmla="*/ 0 h 149"/>
                  <a:gd name="T38" fmla="*/ 182 w 182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2" h="149">
                    <a:moveTo>
                      <a:pt x="182" y="122"/>
                    </a:moveTo>
                    <a:lnTo>
                      <a:pt x="131" y="67"/>
                    </a:lnTo>
                    <a:lnTo>
                      <a:pt x="77" y="32"/>
                    </a:lnTo>
                    <a:lnTo>
                      <a:pt x="32" y="8"/>
                    </a:lnTo>
                    <a:lnTo>
                      <a:pt x="0" y="0"/>
                    </a:lnTo>
                    <a:lnTo>
                      <a:pt x="19" y="32"/>
                    </a:lnTo>
                    <a:lnTo>
                      <a:pt x="77" y="65"/>
                    </a:lnTo>
                    <a:lnTo>
                      <a:pt x="122" y="112"/>
                    </a:lnTo>
                    <a:lnTo>
                      <a:pt x="144" y="143"/>
                    </a:lnTo>
                    <a:lnTo>
                      <a:pt x="163" y="149"/>
                    </a:lnTo>
                    <a:lnTo>
                      <a:pt x="180" y="138"/>
                    </a:lnTo>
                    <a:lnTo>
                      <a:pt x="182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1" name="Freeform 377"/>
              <p:cNvSpPr>
                <a:spLocks/>
              </p:cNvSpPr>
              <p:nvPr/>
            </p:nvSpPr>
            <p:spPr bwMode="auto">
              <a:xfrm>
                <a:off x="4635" y="1338"/>
                <a:ext cx="51" cy="46"/>
              </a:xfrm>
              <a:custGeom>
                <a:avLst/>
                <a:gdLst>
                  <a:gd name="T0" fmla="*/ 202 w 202"/>
                  <a:gd name="T1" fmla="*/ 172 h 185"/>
                  <a:gd name="T2" fmla="*/ 150 w 202"/>
                  <a:gd name="T3" fmla="*/ 117 h 185"/>
                  <a:gd name="T4" fmla="*/ 85 w 202"/>
                  <a:gd name="T5" fmla="*/ 50 h 185"/>
                  <a:gd name="T6" fmla="*/ 47 w 202"/>
                  <a:gd name="T7" fmla="*/ 17 h 185"/>
                  <a:gd name="T8" fmla="*/ 17 w 202"/>
                  <a:gd name="T9" fmla="*/ 0 h 185"/>
                  <a:gd name="T10" fmla="*/ 0 w 202"/>
                  <a:gd name="T11" fmla="*/ 11 h 185"/>
                  <a:gd name="T12" fmla="*/ 35 w 202"/>
                  <a:gd name="T13" fmla="*/ 39 h 185"/>
                  <a:gd name="T14" fmla="*/ 92 w 202"/>
                  <a:gd name="T15" fmla="*/ 98 h 185"/>
                  <a:gd name="T16" fmla="*/ 147 w 202"/>
                  <a:gd name="T17" fmla="*/ 155 h 185"/>
                  <a:gd name="T18" fmla="*/ 183 w 202"/>
                  <a:gd name="T19" fmla="*/ 185 h 185"/>
                  <a:gd name="T20" fmla="*/ 191 w 202"/>
                  <a:gd name="T21" fmla="*/ 185 h 185"/>
                  <a:gd name="T22" fmla="*/ 202 w 202"/>
                  <a:gd name="T23" fmla="*/ 172 h 1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2"/>
                  <a:gd name="T37" fmla="*/ 0 h 185"/>
                  <a:gd name="T38" fmla="*/ 202 w 202"/>
                  <a:gd name="T39" fmla="*/ 185 h 1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2" h="185">
                    <a:moveTo>
                      <a:pt x="202" y="172"/>
                    </a:moveTo>
                    <a:lnTo>
                      <a:pt x="150" y="117"/>
                    </a:lnTo>
                    <a:lnTo>
                      <a:pt x="85" y="50"/>
                    </a:lnTo>
                    <a:lnTo>
                      <a:pt x="47" y="17"/>
                    </a:lnTo>
                    <a:lnTo>
                      <a:pt x="17" y="0"/>
                    </a:lnTo>
                    <a:lnTo>
                      <a:pt x="0" y="11"/>
                    </a:lnTo>
                    <a:lnTo>
                      <a:pt x="35" y="39"/>
                    </a:lnTo>
                    <a:lnTo>
                      <a:pt x="92" y="98"/>
                    </a:lnTo>
                    <a:lnTo>
                      <a:pt x="147" y="155"/>
                    </a:lnTo>
                    <a:lnTo>
                      <a:pt x="183" y="185"/>
                    </a:lnTo>
                    <a:lnTo>
                      <a:pt x="191" y="185"/>
                    </a:lnTo>
                    <a:lnTo>
                      <a:pt x="202" y="17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2" name="Freeform 378"/>
              <p:cNvSpPr>
                <a:spLocks/>
              </p:cNvSpPr>
              <p:nvPr/>
            </p:nvSpPr>
            <p:spPr bwMode="auto">
              <a:xfrm>
                <a:off x="4642" y="1377"/>
                <a:ext cx="35" cy="36"/>
              </a:xfrm>
              <a:custGeom>
                <a:avLst/>
                <a:gdLst>
                  <a:gd name="T0" fmla="*/ 139 w 142"/>
                  <a:gd name="T1" fmla="*/ 123 h 147"/>
                  <a:gd name="T2" fmla="*/ 82 w 142"/>
                  <a:gd name="T3" fmla="*/ 37 h 147"/>
                  <a:gd name="T4" fmla="*/ 25 w 142"/>
                  <a:gd name="T5" fmla="*/ 5 h 147"/>
                  <a:gd name="T6" fmla="*/ 0 w 142"/>
                  <a:gd name="T7" fmla="*/ 0 h 147"/>
                  <a:gd name="T8" fmla="*/ 6 w 142"/>
                  <a:gd name="T9" fmla="*/ 17 h 147"/>
                  <a:gd name="T10" fmla="*/ 71 w 142"/>
                  <a:gd name="T11" fmla="*/ 65 h 147"/>
                  <a:gd name="T12" fmla="*/ 133 w 142"/>
                  <a:gd name="T13" fmla="*/ 141 h 147"/>
                  <a:gd name="T14" fmla="*/ 142 w 142"/>
                  <a:gd name="T15" fmla="*/ 147 h 147"/>
                  <a:gd name="T16" fmla="*/ 139 w 142"/>
                  <a:gd name="T17" fmla="*/ 123 h 1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2"/>
                  <a:gd name="T28" fmla="*/ 0 h 147"/>
                  <a:gd name="T29" fmla="*/ 142 w 142"/>
                  <a:gd name="T30" fmla="*/ 147 h 1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2" h="147">
                    <a:moveTo>
                      <a:pt x="139" y="123"/>
                    </a:moveTo>
                    <a:lnTo>
                      <a:pt x="82" y="37"/>
                    </a:lnTo>
                    <a:lnTo>
                      <a:pt x="25" y="5"/>
                    </a:lnTo>
                    <a:lnTo>
                      <a:pt x="0" y="0"/>
                    </a:lnTo>
                    <a:lnTo>
                      <a:pt x="6" y="17"/>
                    </a:lnTo>
                    <a:lnTo>
                      <a:pt x="71" y="65"/>
                    </a:lnTo>
                    <a:lnTo>
                      <a:pt x="133" y="141"/>
                    </a:lnTo>
                    <a:lnTo>
                      <a:pt x="142" y="147"/>
                    </a:lnTo>
                    <a:lnTo>
                      <a:pt x="139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3" name="Freeform 379"/>
              <p:cNvSpPr>
                <a:spLocks/>
              </p:cNvSpPr>
              <p:nvPr/>
            </p:nvSpPr>
            <p:spPr bwMode="auto">
              <a:xfrm>
                <a:off x="4642" y="1413"/>
                <a:ext cx="25" cy="27"/>
              </a:xfrm>
              <a:custGeom>
                <a:avLst/>
                <a:gdLst>
                  <a:gd name="T0" fmla="*/ 93 w 97"/>
                  <a:gd name="T1" fmla="*/ 84 h 111"/>
                  <a:gd name="T2" fmla="*/ 45 w 97"/>
                  <a:gd name="T3" fmla="*/ 19 h 111"/>
                  <a:gd name="T4" fmla="*/ 2 w 97"/>
                  <a:gd name="T5" fmla="*/ 0 h 111"/>
                  <a:gd name="T6" fmla="*/ 0 w 97"/>
                  <a:gd name="T7" fmla="*/ 19 h 111"/>
                  <a:gd name="T8" fmla="*/ 20 w 97"/>
                  <a:gd name="T9" fmla="*/ 52 h 111"/>
                  <a:gd name="T10" fmla="*/ 72 w 97"/>
                  <a:gd name="T11" fmla="*/ 95 h 111"/>
                  <a:gd name="T12" fmla="*/ 86 w 97"/>
                  <a:gd name="T13" fmla="*/ 111 h 111"/>
                  <a:gd name="T14" fmla="*/ 97 w 97"/>
                  <a:gd name="T15" fmla="*/ 103 h 111"/>
                  <a:gd name="T16" fmla="*/ 93 w 97"/>
                  <a:gd name="T17" fmla="*/ 84 h 1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7"/>
                  <a:gd name="T28" fmla="*/ 0 h 111"/>
                  <a:gd name="T29" fmla="*/ 97 w 97"/>
                  <a:gd name="T30" fmla="*/ 111 h 1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7" h="111">
                    <a:moveTo>
                      <a:pt x="93" y="84"/>
                    </a:moveTo>
                    <a:lnTo>
                      <a:pt x="45" y="19"/>
                    </a:lnTo>
                    <a:lnTo>
                      <a:pt x="2" y="0"/>
                    </a:lnTo>
                    <a:lnTo>
                      <a:pt x="0" y="19"/>
                    </a:lnTo>
                    <a:lnTo>
                      <a:pt x="20" y="52"/>
                    </a:lnTo>
                    <a:lnTo>
                      <a:pt x="72" y="95"/>
                    </a:lnTo>
                    <a:lnTo>
                      <a:pt x="86" y="111"/>
                    </a:lnTo>
                    <a:lnTo>
                      <a:pt x="97" y="103"/>
                    </a:lnTo>
                    <a:lnTo>
                      <a:pt x="93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4" name="Freeform 380"/>
              <p:cNvSpPr>
                <a:spLocks/>
              </p:cNvSpPr>
              <p:nvPr/>
            </p:nvSpPr>
            <p:spPr bwMode="auto">
              <a:xfrm>
                <a:off x="4645" y="1449"/>
                <a:ext cx="30" cy="31"/>
              </a:xfrm>
              <a:custGeom>
                <a:avLst/>
                <a:gdLst>
                  <a:gd name="T0" fmla="*/ 123 w 123"/>
                  <a:gd name="T1" fmla="*/ 125 h 125"/>
                  <a:gd name="T2" fmla="*/ 106 w 123"/>
                  <a:gd name="T3" fmla="*/ 106 h 125"/>
                  <a:gd name="T4" fmla="*/ 71 w 123"/>
                  <a:gd name="T5" fmla="*/ 54 h 125"/>
                  <a:gd name="T6" fmla="*/ 22 w 123"/>
                  <a:gd name="T7" fmla="*/ 0 h 125"/>
                  <a:gd name="T8" fmla="*/ 0 w 123"/>
                  <a:gd name="T9" fmla="*/ 0 h 125"/>
                  <a:gd name="T10" fmla="*/ 8 w 123"/>
                  <a:gd name="T11" fmla="*/ 20 h 125"/>
                  <a:gd name="T12" fmla="*/ 47 w 123"/>
                  <a:gd name="T13" fmla="*/ 71 h 125"/>
                  <a:gd name="T14" fmla="*/ 85 w 123"/>
                  <a:gd name="T15" fmla="*/ 123 h 125"/>
                  <a:gd name="T16" fmla="*/ 123 w 123"/>
                  <a:gd name="T17" fmla="*/ 125 h 1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125"/>
                  <a:gd name="T29" fmla="*/ 123 w 123"/>
                  <a:gd name="T30" fmla="*/ 125 h 1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125">
                    <a:moveTo>
                      <a:pt x="123" y="125"/>
                    </a:moveTo>
                    <a:lnTo>
                      <a:pt x="106" y="106"/>
                    </a:lnTo>
                    <a:lnTo>
                      <a:pt x="71" y="54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8" y="20"/>
                    </a:lnTo>
                    <a:lnTo>
                      <a:pt x="47" y="71"/>
                    </a:lnTo>
                    <a:lnTo>
                      <a:pt x="85" y="123"/>
                    </a:lnTo>
                    <a:lnTo>
                      <a:pt x="123" y="1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5" name="Freeform 381"/>
              <p:cNvSpPr>
                <a:spLocks/>
              </p:cNvSpPr>
              <p:nvPr/>
            </p:nvSpPr>
            <p:spPr bwMode="auto">
              <a:xfrm>
                <a:off x="4686" y="1189"/>
                <a:ext cx="94" cy="347"/>
              </a:xfrm>
              <a:custGeom>
                <a:avLst/>
                <a:gdLst>
                  <a:gd name="T0" fmla="*/ 54 w 374"/>
                  <a:gd name="T1" fmla="*/ 170 h 1390"/>
                  <a:gd name="T2" fmla="*/ 67 w 374"/>
                  <a:gd name="T3" fmla="*/ 247 h 1390"/>
                  <a:gd name="T4" fmla="*/ 35 w 374"/>
                  <a:gd name="T5" fmla="*/ 299 h 1390"/>
                  <a:gd name="T6" fmla="*/ 38 w 374"/>
                  <a:gd name="T7" fmla="*/ 370 h 1390"/>
                  <a:gd name="T8" fmla="*/ 57 w 374"/>
                  <a:gd name="T9" fmla="*/ 428 h 1390"/>
                  <a:gd name="T10" fmla="*/ 27 w 374"/>
                  <a:gd name="T11" fmla="*/ 486 h 1390"/>
                  <a:gd name="T12" fmla="*/ 60 w 374"/>
                  <a:gd name="T13" fmla="*/ 587 h 1390"/>
                  <a:gd name="T14" fmla="*/ 21 w 374"/>
                  <a:gd name="T15" fmla="*/ 671 h 1390"/>
                  <a:gd name="T16" fmla="*/ 41 w 374"/>
                  <a:gd name="T17" fmla="*/ 755 h 1390"/>
                  <a:gd name="T18" fmla="*/ 51 w 374"/>
                  <a:gd name="T19" fmla="*/ 815 h 1390"/>
                  <a:gd name="T20" fmla="*/ 13 w 374"/>
                  <a:gd name="T21" fmla="*/ 866 h 1390"/>
                  <a:gd name="T22" fmla="*/ 35 w 374"/>
                  <a:gd name="T23" fmla="*/ 975 h 1390"/>
                  <a:gd name="T24" fmla="*/ 32 w 374"/>
                  <a:gd name="T25" fmla="*/ 1032 h 1390"/>
                  <a:gd name="T26" fmla="*/ 0 w 374"/>
                  <a:gd name="T27" fmla="*/ 1104 h 1390"/>
                  <a:gd name="T28" fmla="*/ 19 w 374"/>
                  <a:gd name="T29" fmla="*/ 1164 h 1390"/>
                  <a:gd name="T30" fmla="*/ 21 w 374"/>
                  <a:gd name="T31" fmla="*/ 1219 h 1390"/>
                  <a:gd name="T32" fmla="*/ 27 w 374"/>
                  <a:gd name="T33" fmla="*/ 1278 h 1390"/>
                  <a:gd name="T34" fmla="*/ 54 w 374"/>
                  <a:gd name="T35" fmla="*/ 1330 h 1390"/>
                  <a:gd name="T36" fmla="*/ 57 w 374"/>
                  <a:gd name="T37" fmla="*/ 1390 h 1390"/>
                  <a:gd name="T38" fmla="*/ 141 w 374"/>
                  <a:gd name="T39" fmla="*/ 1338 h 1390"/>
                  <a:gd name="T40" fmla="*/ 241 w 374"/>
                  <a:gd name="T41" fmla="*/ 1325 h 1390"/>
                  <a:gd name="T42" fmla="*/ 310 w 374"/>
                  <a:gd name="T43" fmla="*/ 1297 h 1390"/>
                  <a:gd name="T44" fmla="*/ 331 w 374"/>
                  <a:gd name="T45" fmla="*/ 1259 h 1390"/>
                  <a:gd name="T46" fmla="*/ 338 w 374"/>
                  <a:gd name="T47" fmla="*/ 1181 h 1390"/>
                  <a:gd name="T48" fmla="*/ 323 w 374"/>
                  <a:gd name="T49" fmla="*/ 1080 h 1390"/>
                  <a:gd name="T50" fmla="*/ 306 w 374"/>
                  <a:gd name="T51" fmla="*/ 1026 h 1390"/>
                  <a:gd name="T52" fmla="*/ 317 w 374"/>
                  <a:gd name="T53" fmla="*/ 961 h 1390"/>
                  <a:gd name="T54" fmla="*/ 286 w 374"/>
                  <a:gd name="T55" fmla="*/ 890 h 1390"/>
                  <a:gd name="T56" fmla="*/ 329 w 374"/>
                  <a:gd name="T57" fmla="*/ 835 h 1390"/>
                  <a:gd name="T58" fmla="*/ 296 w 374"/>
                  <a:gd name="T59" fmla="*/ 755 h 1390"/>
                  <a:gd name="T60" fmla="*/ 280 w 374"/>
                  <a:gd name="T61" fmla="*/ 679 h 1390"/>
                  <a:gd name="T62" fmla="*/ 344 w 374"/>
                  <a:gd name="T63" fmla="*/ 622 h 1390"/>
                  <a:gd name="T64" fmla="*/ 323 w 374"/>
                  <a:gd name="T65" fmla="*/ 581 h 1390"/>
                  <a:gd name="T66" fmla="*/ 323 w 374"/>
                  <a:gd name="T67" fmla="*/ 510 h 1390"/>
                  <a:gd name="T68" fmla="*/ 293 w 374"/>
                  <a:gd name="T69" fmla="*/ 464 h 1390"/>
                  <a:gd name="T70" fmla="*/ 317 w 374"/>
                  <a:gd name="T71" fmla="*/ 409 h 1390"/>
                  <a:gd name="T72" fmla="*/ 296 w 374"/>
                  <a:gd name="T73" fmla="*/ 364 h 1390"/>
                  <a:gd name="T74" fmla="*/ 296 w 374"/>
                  <a:gd name="T75" fmla="*/ 325 h 1390"/>
                  <a:gd name="T76" fmla="*/ 318 w 374"/>
                  <a:gd name="T77" fmla="*/ 290 h 1390"/>
                  <a:gd name="T78" fmla="*/ 290 w 374"/>
                  <a:gd name="T79" fmla="*/ 245 h 1390"/>
                  <a:gd name="T80" fmla="*/ 286 w 374"/>
                  <a:gd name="T81" fmla="*/ 181 h 1390"/>
                  <a:gd name="T82" fmla="*/ 358 w 374"/>
                  <a:gd name="T83" fmla="*/ 98 h 1390"/>
                  <a:gd name="T84" fmla="*/ 374 w 374"/>
                  <a:gd name="T85" fmla="*/ 13 h 1390"/>
                  <a:gd name="T86" fmla="*/ 331 w 374"/>
                  <a:gd name="T87" fmla="*/ 13 h 1390"/>
                  <a:gd name="T88" fmla="*/ 206 w 374"/>
                  <a:gd name="T89" fmla="*/ 79 h 1390"/>
                  <a:gd name="T90" fmla="*/ 103 w 374"/>
                  <a:gd name="T91" fmla="*/ 119 h 139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4"/>
                  <a:gd name="T139" fmla="*/ 0 h 1390"/>
                  <a:gd name="T140" fmla="*/ 374 w 374"/>
                  <a:gd name="T141" fmla="*/ 1390 h 139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4" h="1390">
                    <a:moveTo>
                      <a:pt x="67" y="131"/>
                    </a:moveTo>
                    <a:lnTo>
                      <a:pt x="54" y="170"/>
                    </a:lnTo>
                    <a:lnTo>
                      <a:pt x="65" y="209"/>
                    </a:lnTo>
                    <a:lnTo>
                      <a:pt x="67" y="247"/>
                    </a:lnTo>
                    <a:lnTo>
                      <a:pt x="54" y="271"/>
                    </a:lnTo>
                    <a:lnTo>
                      <a:pt x="35" y="299"/>
                    </a:lnTo>
                    <a:lnTo>
                      <a:pt x="26" y="342"/>
                    </a:lnTo>
                    <a:lnTo>
                      <a:pt x="38" y="370"/>
                    </a:lnTo>
                    <a:lnTo>
                      <a:pt x="57" y="402"/>
                    </a:lnTo>
                    <a:lnTo>
                      <a:pt x="57" y="428"/>
                    </a:lnTo>
                    <a:lnTo>
                      <a:pt x="45" y="454"/>
                    </a:lnTo>
                    <a:lnTo>
                      <a:pt x="27" y="486"/>
                    </a:lnTo>
                    <a:lnTo>
                      <a:pt x="35" y="518"/>
                    </a:lnTo>
                    <a:lnTo>
                      <a:pt x="60" y="587"/>
                    </a:lnTo>
                    <a:lnTo>
                      <a:pt x="57" y="616"/>
                    </a:lnTo>
                    <a:lnTo>
                      <a:pt x="21" y="671"/>
                    </a:lnTo>
                    <a:lnTo>
                      <a:pt x="21" y="719"/>
                    </a:lnTo>
                    <a:lnTo>
                      <a:pt x="41" y="755"/>
                    </a:lnTo>
                    <a:lnTo>
                      <a:pt x="54" y="787"/>
                    </a:lnTo>
                    <a:lnTo>
                      <a:pt x="51" y="815"/>
                    </a:lnTo>
                    <a:lnTo>
                      <a:pt x="19" y="845"/>
                    </a:lnTo>
                    <a:lnTo>
                      <a:pt x="13" y="866"/>
                    </a:lnTo>
                    <a:lnTo>
                      <a:pt x="19" y="918"/>
                    </a:lnTo>
                    <a:lnTo>
                      <a:pt x="35" y="975"/>
                    </a:lnTo>
                    <a:lnTo>
                      <a:pt x="35" y="1007"/>
                    </a:lnTo>
                    <a:lnTo>
                      <a:pt x="32" y="1032"/>
                    </a:lnTo>
                    <a:lnTo>
                      <a:pt x="8" y="1072"/>
                    </a:lnTo>
                    <a:lnTo>
                      <a:pt x="0" y="1104"/>
                    </a:lnTo>
                    <a:lnTo>
                      <a:pt x="2" y="1138"/>
                    </a:lnTo>
                    <a:lnTo>
                      <a:pt x="19" y="1164"/>
                    </a:lnTo>
                    <a:lnTo>
                      <a:pt x="38" y="1187"/>
                    </a:lnTo>
                    <a:lnTo>
                      <a:pt x="21" y="1219"/>
                    </a:lnTo>
                    <a:lnTo>
                      <a:pt x="13" y="1252"/>
                    </a:lnTo>
                    <a:lnTo>
                      <a:pt x="27" y="1278"/>
                    </a:lnTo>
                    <a:lnTo>
                      <a:pt x="51" y="1297"/>
                    </a:lnTo>
                    <a:lnTo>
                      <a:pt x="54" y="1330"/>
                    </a:lnTo>
                    <a:lnTo>
                      <a:pt x="54" y="1355"/>
                    </a:lnTo>
                    <a:lnTo>
                      <a:pt x="57" y="1390"/>
                    </a:lnTo>
                    <a:lnTo>
                      <a:pt x="98" y="1362"/>
                    </a:lnTo>
                    <a:lnTo>
                      <a:pt x="141" y="1338"/>
                    </a:lnTo>
                    <a:lnTo>
                      <a:pt x="181" y="1325"/>
                    </a:lnTo>
                    <a:lnTo>
                      <a:pt x="241" y="1325"/>
                    </a:lnTo>
                    <a:lnTo>
                      <a:pt x="284" y="1319"/>
                    </a:lnTo>
                    <a:lnTo>
                      <a:pt x="310" y="1297"/>
                    </a:lnTo>
                    <a:lnTo>
                      <a:pt x="355" y="1284"/>
                    </a:lnTo>
                    <a:lnTo>
                      <a:pt x="331" y="1259"/>
                    </a:lnTo>
                    <a:lnTo>
                      <a:pt x="323" y="1222"/>
                    </a:lnTo>
                    <a:lnTo>
                      <a:pt x="338" y="1181"/>
                    </a:lnTo>
                    <a:lnTo>
                      <a:pt x="336" y="1123"/>
                    </a:lnTo>
                    <a:lnTo>
                      <a:pt x="323" y="1080"/>
                    </a:lnTo>
                    <a:lnTo>
                      <a:pt x="310" y="1059"/>
                    </a:lnTo>
                    <a:lnTo>
                      <a:pt x="306" y="1026"/>
                    </a:lnTo>
                    <a:lnTo>
                      <a:pt x="323" y="988"/>
                    </a:lnTo>
                    <a:lnTo>
                      <a:pt x="317" y="961"/>
                    </a:lnTo>
                    <a:lnTo>
                      <a:pt x="284" y="917"/>
                    </a:lnTo>
                    <a:lnTo>
                      <a:pt x="286" y="890"/>
                    </a:lnTo>
                    <a:lnTo>
                      <a:pt x="299" y="866"/>
                    </a:lnTo>
                    <a:lnTo>
                      <a:pt x="329" y="835"/>
                    </a:lnTo>
                    <a:lnTo>
                      <a:pt x="318" y="809"/>
                    </a:lnTo>
                    <a:lnTo>
                      <a:pt x="296" y="755"/>
                    </a:lnTo>
                    <a:lnTo>
                      <a:pt x="280" y="719"/>
                    </a:lnTo>
                    <a:lnTo>
                      <a:pt x="280" y="679"/>
                    </a:lnTo>
                    <a:lnTo>
                      <a:pt x="338" y="659"/>
                    </a:lnTo>
                    <a:lnTo>
                      <a:pt x="344" y="622"/>
                    </a:lnTo>
                    <a:lnTo>
                      <a:pt x="338" y="600"/>
                    </a:lnTo>
                    <a:lnTo>
                      <a:pt x="323" y="581"/>
                    </a:lnTo>
                    <a:lnTo>
                      <a:pt x="325" y="548"/>
                    </a:lnTo>
                    <a:lnTo>
                      <a:pt x="323" y="510"/>
                    </a:lnTo>
                    <a:lnTo>
                      <a:pt x="306" y="491"/>
                    </a:lnTo>
                    <a:lnTo>
                      <a:pt x="293" y="464"/>
                    </a:lnTo>
                    <a:lnTo>
                      <a:pt x="304" y="439"/>
                    </a:lnTo>
                    <a:lnTo>
                      <a:pt x="317" y="409"/>
                    </a:lnTo>
                    <a:lnTo>
                      <a:pt x="317" y="389"/>
                    </a:lnTo>
                    <a:lnTo>
                      <a:pt x="296" y="364"/>
                    </a:lnTo>
                    <a:lnTo>
                      <a:pt x="290" y="342"/>
                    </a:lnTo>
                    <a:lnTo>
                      <a:pt x="296" y="325"/>
                    </a:lnTo>
                    <a:lnTo>
                      <a:pt x="317" y="312"/>
                    </a:lnTo>
                    <a:lnTo>
                      <a:pt x="318" y="290"/>
                    </a:lnTo>
                    <a:lnTo>
                      <a:pt x="312" y="277"/>
                    </a:lnTo>
                    <a:lnTo>
                      <a:pt x="290" y="245"/>
                    </a:lnTo>
                    <a:lnTo>
                      <a:pt x="284" y="209"/>
                    </a:lnTo>
                    <a:lnTo>
                      <a:pt x="286" y="181"/>
                    </a:lnTo>
                    <a:lnTo>
                      <a:pt x="306" y="155"/>
                    </a:lnTo>
                    <a:lnTo>
                      <a:pt x="358" y="98"/>
                    </a:lnTo>
                    <a:lnTo>
                      <a:pt x="374" y="51"/>
                    </a:lnTo>
                    <a:lnTo>
                      <a:pt x="374" y="13"/>
                    </a:lnTo>
                    <a:lnTo>
                      <a:pt x="358" y="0"/>
                    </a:lnTo>
                    <a:lnTo>
                      <a:pt x="331" y="13"/>
                    </a:lnTo>
                    <a:lnTo>
                      <a:pt x="266" y="54"/>
                    </a:lnTo>
                    <a:lnTo>
                      <a:pt x="206" y="79"/>
                    </a:lnTo>
                    <a:lnTo>
                      <a:pt x="144" y="105"/>
                    </a:lnTo>
                    <a:lnTo>
                      <a:pt x="103" y="119"/>
                    </a:lnTo>
                    <a:lnTo>
                      <a:pt x="67" y="1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6" name="Freeform 382"/>
              <p:cNvSpPr>
                <a:spLocks/>
              </p:cNvSpPr>
              <p:nvPr/>
            </p:nvSpPr>
            <p:spPr bwMode="auto">
              <a:xfrm>
                <a:off x="4620" y="1186"/>
                <a:ext cx="168" cy="356"/>
              </a:xfrm>
              <a:custGeom>
                <a:avLst/>
                <a:gdLst>
                  <a:gd name="T0" fmla="*/ 437 w 669"/>
                  <a:gd name="T1" fmla="*/ 1335 h 1421"/>
                  <a:gd name="T2" fmla="*/ 309 w 669"/>
                  <a:gd name="T3" fmla="*/ 1380 h 1421"/>
                  <a:gd name="T4" fmla="*/ 54 w 669"/>
                  <a:gd name="T5" fmla="*/ 1150 h 1421"/>
                  <a:gd name="T6" fmla="*/ 41 w 669"/>
                  <a:gd name="T7" fmla="*/ 1188 h 1421"/>
                  <a:gd name="T8" fmla="*/ 317 w 669"/>
                  <a:gd name="T9" fmla="*/ 1421 h 1421"/>
                  <a:gd name="T10" fmla="*/ 450 w 669"/>
                  <a:gd name="T11" fmla="*/ 1350 h 1421"/>
                  <a:gd name="T12" fmla="*/ 633 w 669"/>
                  <a:gd name="T13" fmla="*/ 1290 h 1421"/>
                  <a:gd name="T14" fmla="*/ 624 w 669"/>
                  <a:gd name="T15" fmla="*/ 1188 h 1421"/>
                  <a:gd name="T16" fmla="*/ 587 w 669"/>
                  <a:gd name="T17" fmla="*/ 1077 h 1421"/>
                  <a:gd name="T18" fmla="*/ 605 w 669"/>
                  <a:gd name="T19" fmla="*/ 987 h 1421"/>
                  <a:gd name="T20" fmla="*/ 566 w 669"/>
                  <a:gd name="T21" fmla="*/ 899 h 1421"/>
                  <a:gd name="T22" fmla="*/ 586 w 669"/>
                  <a:gd name="T23" fmla="*/ 796 h 1421"/>
                  <a:gd name="T24" fmla="*/ 600 w 669"/>
                  <a:gd name="T25" fmla="*/ 693 h 1421"/>
                  <a:gd name="T26" fmla="*/ 605 w 669"/>
                  <a:gd name="T27" fmla="*/ 563 h 1421"/>
                  <a:gd name="T28" fmla="*/ 579 w 669"/>
                  <a:gd name="T29" fmla="*/ 454 h 1421"/>
                  <a:gd name="T30" fmla="*/ 566 w 669"/>
                  <a:gd name="T31" fmla="*/ 367 h 1421"/>
                  <a:gd name="T32" fmla="*/ 598 w 669"/>
                  <a:gd name="T33" fmla="*/ 293 h 1421"/>
                  <a:gd name="T34" fmla="*/ 581 w 669"/>
                  <a:gd name="T35" fmla="*/ 168 h 1421"/>
                  <a:gd name="T36" fmla="*/ 663 w 669"/>
                  <a:gd name="T37" fmla="*/ 14 h 1421"/>
                  <a:gd name="T38" fmla="*/ 627 w 669"/>
                  <a:gd name="T39" fmla="*/ 47 h 1421"/>
                  <a:gd name="T40" fmla="*/ 543 w 669"/>
                  <a:gd name="T41" fmla="*/ 187 h 1421"/>
                  <a:gd name="T42" fmla="*/ 420 w 669"/>
                  <a:gd name="T43" fmla="*/ 302 h 1421"/>
                  <a:gd name="T44" fmla="*/ 546 w 669"/>
                  <a:gd name="T45" fmla="*/ 260 h 1421"/>
                  <a:gd name="T46" fmla="*/ 536 w 669"/>
                  <a:gd name="T47" fmla="*/ 342 h 1421"/>
                  <a:gd name="T48" fmla="*/ 476 w 669"/>
                  <a:gd name="T49" fmla="*/ 427 h 1421"/>
                  <a:gd name="T50" fmla="*/ 562 w 669"/>
                  <a:gd name="T51" fmla="*/ 408 h 1421"/>
                  <a:gd name="T52" fmla="*/ 540 w 669"/>
                  <a:gd name="T53" fmla="*/ 473 h 1421"/>
                  <a:gd name="T54" fmla="*/ 534 w 669"/>
                  <a:gd name="T55" fmla="*/ 544 h 1421"/>
                  <a:gd name="T56" fmla="*/ 407 w 669"/>
                  <a:gd name="T57" fmla="*/ 639 h 1421"/>
                  <a:gd name="T58" fmla="*/ 549 w 669"/>
                  <a:gd name="T59" fmla="*/ 574 h 1421"/>
                  <a:gd name="T60" fmla="*/ 600 w 669"/>
                  <a:gd name="T61" fmla="*/ 639 h 1421"/>
                  <a:gd name="T62" fmla="*/ 514 w 669"/>
                  <a:gd name="T63" fmla="*/ 699 h 1421"/>
                  <a:gd name="T64" fmla="*/ 355 w 669"/>
                  <a:gd name="T65" fmla="*/ 777 h 1421"/>
                  <a:gd name="T66" fmla="*/ 536 w 669"/>
                  <a:gd name="T67" fmla="*/ 744 h 1421"/>
                  <a:gd name="T68" fmla="*/ 573 w 669"/>
                  <a:gd name="T69" fmla="*/ 864 h 1421"/>
                  <a:gd name="T70" fmla="*/ 359 w 669"/>
                  <a:gd name="T71" fmla="*/ 922 h 1421"/>
                  <a:gd name="T72" fmla="*/ 476 w 669"/>
                  <a:gd name="T73" fmla="*/ 918 h 1421"/>
                  <a:gd name="T74" fmla="*/ 549 w 669"/>
                  <a:gd name="T75" fmla="*/ 954 h 1421"/>
                  <a:gd name="T76" fmla="*/ 546 w 669"/>
                  <a:gd name="T77" fmla="*/ 1025 h 1421"/>
                  <a:gd name="T78" fmla="*/ 342 w 669"/>
                  <a:gd name="T79" fmla="*/ 1066 h 1421"/>
                  <a:gd name="T80" fmla="*/ 443 w 669"/>
                  <a:gd name="T81" fmla="*/ 1066 h 1421"/>
                  <a:gd name="T82" fmla="*/ 560 w 669"/>
                  <a:gd name="T83" fmla="*/ 1047 h 1421"/>
                  <a:gd name="T84" fmla="*/ 459 w 669"/>
                  <a:gd name="T85" fmla="*/ 1144 h 1421"/>
                  <a:gd name="T86" fmla="*/ 342 w 669"/>
                  <a:gd name="T87" fmla="*/ 1199 h 1421"/>
                  <a:gd name="T88" fmla="*/ 489 w 669"/>
                  <a:gd name="T89" fmla="*/ 1148 h 1421"/>
                  <a:gd name="T90" fmla="*/ 575 w 669"/>
                  <a:gd name="T91" fmla="*/ 1128 h 1421"/>
                  <a:gd name="T92" fmla="*/ 573 w 669"/>
                  <a:gd name="T93" fmla="*/ 1212 h 1421"/>
                  <a:gd name="T94" fmla="*/ 586 w 669"/>
                  <a:gd name="T95" fmla="*/ 1283 h 14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9"/>
                  <a:gd name="T145" fmla="*/ 0 h 1421"/>
                  <a:gd name="T146" fmla="*/ 669 w 669"/>
                  <a:gd name="T147" fmla="*/ 1421 h 14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9" h="1421">
                    <a:moveTo>
                      <a:pt x="568" y="1286"/>
                    </a:moveTo>
                    <a:lnTo>
                      <a:pt x="540" y="1318"/>
                    </a:lnTo>
                    <a:lnTo>
                      <a:pt x="495" y="1329"/>
                    </a:lnTo>
                    <a:lnTo>
                      <a:pt x="437" y="1335"/>
                    </a:lnTo>
                    <a:lnTo>
                      <a:pt x="375" y="1348"/>
                    </a:lnTo>
                    <a:lnTo>
                      <a:pt x="334" y="1373"/>
                    </a:lnTo>
                    <a:lnTo>
                      <a:pt x="321" y="1386"/>
                    </a:lnTo>
                    <a:lnTo>
                      <a:pt x="309" y="1380"/>
                    </a:lnTo>
                    <a:lnTo>
                      <a:pt x="233" y="1324"/>
                    </a:lnTo>
                    <a:lnTo>
                      <a:pt x="136" y="1247"/>
                    </a:lnTo>
                    <a:lnTo>
                      <a:pt x="103" y="1199"/>
                    </a:lnTo>
                    <a:lnTo>
                      <a:pt x="54" y="1150"/>
                    </a:lnTo>
                    <a:lnTo>
                      <a:pt x="40" y="1112"/>
                    </a:lnTo>
                    <a:lnTo>
                      <a:pt x="0" y="1106"/>
                    </a:lnTo>
                    <a:lnTo>
                      <a:pt x="20" y="1148"/>
                    </a:lnTo>
                    <a:lnTo>
                      <a:pt x="41" y="1188"/>
                    </a:lnTo>
                    <a:lnTo>
                      <a:pt x="103" y="1234"/>
                    </a:lnTo>
                    <a:lnTo>
                      <a:pt x="146" y="1290"/>
                    </a:lnTo>
                    <a:lnTo>
                      <a:pt x="252" y="1356"/>
                    </a:lnTo>
                    <a:lnTo>
                      <a:pt x="317" y="1421"/>
                    </a:lnTo>
                    <a:lnTo>
                      <a:pt x="342" y="1415"/>
                    </a:lnTo>
                    <a:lnTo>
                      <a:pt x="369" y="1383"/>
                    </a:lnTo>
                    <a:lnTo>
                      <a:pt x="405" y="1364"/>
                    </a:lnTo>
                    <a:lnTo>
                      <a:pt x="450" y="1350"/>
                    </a:lnTo>
                    <a:lnTo>
                      <a:pt x="546" y="1342"/>
                    </a:lnTo>
                    <a:lnTo>
                      <a:pt x="575" y="1324"/>
                    </a:lnTo>
                    <a:lnTo>
                      <a:pt x="624" y="1312"/>
                    </a:lnTo>
                    <a:lnTo>
                      <a:pt x="633" y="1290"/>
                    </a:lnTo>
                    <a:lnTo>
                      <a:pt x="617" y="1264"/>
                    </a:lnTo>
                    <a:lnTo>
                      <a:pt x="600" y="1239"/>
                    </a:lnTo>
                    <a:lnTo>
                      <a:pt x="611" y="1206"/>
                    </a:lnTo>
                    <a:lnTo>
                      <a:pt x="624" y="1188"/>
                    </a:lnTo>
                    <a:lnTo>
                      <a:pt x="624" y="1161"/>
                    </a:lnTo>
                    <a:lnTo>
                      <a:pt x="611" y="1118"/>
                    </a:lnTo>
                    <a:lnTo>
                      <a:pt x="605" y="1096"/>
                    </a:lnTo>
                    <a:lnTo>
                      <a:pt x="587" y="1077"/>
                    </a:lnTo>
                    <a:lnTo>
                      <a:pt x="579" y="1054"/>
                    </a:lnTo>
                    <a:lnTo>
                      <a:pt x="587" y="1032"/>
                    </a:lnTo>
                    <a:lnTo>
                      <a:pt x="606" y="1014"/>
                    </a:lnTo>
                    <a:lnTo>
                      <a:pt x="605" y="987"/>
                    </a:lnTo>
                    <a:lnTo>
                      <a:pt x="594" y="968"/>
                    </a:lnTo>
                    <a:lnTo>
                      <a:pt x="573" y="938"/>
                    </a:lnTo>
                    <a:lnTo>
                      <a:pt x="560" y="922"/>
                    </a:lnTo>
                    <a:lnTo>
                      <a:pt x="566" y="899"/>
                    </a:lnTo>
                    <a:lnTo>
                      <a:pt x="598" y="880"/>
                    </a:lnTo>
                    <a:lnTo>
                      <a:pt x="611" y="853"/>
                    </a:lnTo>
                    <a:lnTo>
                      <a:pt x="606" y="832"/>
                    </a:lnTo>
                    <a:lnTo>
                      <a:pt x="586" y="796"/>
                    </a:lnTo>
                    <a:lnTo>
                      <a:pt x="562" y="750"/>
                    </a:lnTo>
                    <a:lnTo>
                      <a:pt x="554" y="718"/>
                    </a:lnTo>
                    <a:lnTo>
                      <a:pt x="566" y="705"/>
                    </a:lnTo>
                    <a:lnTo>
                      <a:pt x="600" y="693"/>
                    </a:lnTo>
                    <a:lnTo>
                      <a:pt x="620" y="679"/>
                    </a:lnTo>
                    <a:lnTo>
                      <a:pt x="624" y="639"/>
                    </a:lnTo>
                    <a:lnTo>
                      <a:pt x="600" y="593"/>
                    </a:lnTo>
                    <a:lnTo>
                      <a:pt x="605" y="563"/>
                    </a:lnTo>
                    <a:lnTo>
                      <a:pt x="614" y="535"/>
                    </a:lnTo>
                    <a:lnTo>
                      <a:pt x="592" y="503"/>
                    </a:lnTo>
                    <a:lnTo>
                      <a:pt x="573" y="473"/>
                    </a:lnTo>
                    <a:lnTo>
                      <a:pt x="579" y="454"/>
                    </a:lnTo>
                    <a:lnTo>
                      <a:pt x="592" y="435"/>
                    </a:lnTo>
                    <a:lnTo>
                      <a:pt x="592" y="402"/>
                    </a:lnTo>
                    <a:lnTo>
                      <a:pt x="579" y="383"/>
                    </a:lnTo>
                    <a:lnTo>
                      <a:pt x="566" y="367"/>
                    </a:lnTo>
                    <a:lnTo>
                      <a:pt x="568" y="343"/>
                    </a:lnTo>
                    <a:lnTo>
                      <a:pt x="592" y="331"/>
                    </a:lnTo>
                    <a:lnTo>
                      <a:pt x="605" y="318"/>
                    </a:lnTo>
                    <a:lnTo>
                      <a:pt x="598" y="293"/>
                    </a:lnTo>
                    <a:lnTo>
                      <a:pt x="573" y="260"/>
                    </a:lnTo>
                    <a:lnTo>
                      <a:pt x="562" y="232"/>
                    </a:lnTo>
                    <a:lnTo>
                      <a:pt x="560" y="199"/>
                    </a:lnTo>
                    <a:lnTo>
                      <a:pt x="581" y="168"/>
                    </a:lnTo>
                    <a:lnTo>
                      <a:pt x="627" y="118"/>
                    </a:lnTo>
                    <a:lnTo>
                      <a:pt x="650" y="79"/>
                    </a:lnTo>
                    <a:lnTo>
                      <a:pt x="669" y="47"/>
                    </a:lnTo>
                    <a:lnTo>
                      <a:pt x="663" y="14"/>
                    </a:lnTo>
                    <a:lnTo>
                      <a:pt x="646" y="0"/>
                    </a:lnTo>
                    <a:lnTo>
                      <a:pt x="633" y="2"/>
                    </a:lnTo>
                    <a:lnTo>
                      <a:pt x="611" y="28"/>
                    </a:lnTo>
                    <a:lnTo>
                      <a:pt x="627" y="47"/>
                    </a:lnTo>
                    <a:lnTo>
                      <a:pt x="624" y="79"/>
                    </a:lnTo>
                    <a:lnTo>
                      <a:pt x="594" y="136"/>
                    </a:lnTo>
                    <a:lnTo>
                      <a:pt x="555" y="168"/>
                    </a:lnTo>
                    <a:lnTo>
                      <a:pt x="543" y="187"/>
                    </a:lnTo>
                    <a:lnTo>
                      <a:pt x="534" y="212"/>
                    </a:lnTo>
                    <a:lnTo>
                      <a:pt x="530" y="228"/>
                    </a:lnTo>
                    <a:lnTo>
                      <a:pt x="472" y="272"/>
                    </a:lnTo>
                    <a:lnTo>
                      <a:pt x="420" y="302"/>
                    </a:lnTo>
                    <a:lnTo>
                      <a:pt x="413" y="324"/>
                    </a:lnTo>
                    <a:lnTo>
                      <a:pt x="431" y="329"/>
                    </a:lnTo>
                    <a:lnTo>
                      <a:pt x="508" y="272"/>
                    </a:lnTo>
                    <a:lnTo>
                      <a:pt x="546" y="260"/>
                    </a:lnTo>
                    <a:lnTo>
                      <a:pt x="566" y="296"/>
                    </a:lnTo>
                    <a:lnTo>
                      <a:pt x="573" y="312"/>
                    </a:lnTo>
                    <a:lnTo>
                      <a:pt x="554" y="329"/>
                    </a:lnTo>
                    <a:lnTo>
                      <a:pt x="536" y="342"/>
                    </a:lnTo>
                    <a:lnTo>
                      <a:pt x="534" y="364"/>
                    </a:lnTo>
                    <a:lnTo>
                      <a:pt x="540" y="387"/>
                    </a:lnTo>
                    <a:lnTo>
                      <a:pt x="524" y="406"/>
                    </a:lnTo>
                    <a:lnTo>
                      <a:pt x="476" y="427"/>
                    </a:lnTo>
                    <a:lnTo>
                      <a:pt x="405" y="457"/>
                    </a:lnTo>
                    <a:lnTo>
                      <a:pt x="431" y="467"/>
                    </a:lnTo>
                    <a:lnTo>
                      <a:pt x="503" y="438"/>
                    </a:lnTo>
                    <a:lnTo>
                      <a:pt x="562" y="408"/>
                    </a:lnTo>
                    <a:lnTo>
                      <a:pt x="573" y="415"/>
                    </a:lnTo>
                    <a:lnTo>
                      <a:pt x="566" y="435"/>
                    </a:lnTo>
                    <a:lnTo>
                      <a:pt x="546" y="454"/>
                    </a:lnTo>
                    <a:lnTo>
                      <a:pt x="540" y="473"/>
                    </a:lnTo>
                    <a:lnTo>
                      <a:pt x="549" y="498"/>
                    </a:lnTo>
                    <a:lnTo>
                      <a:pt x="573" y="519"/>
                    </a:lnTo>
                    <a:lnTo>
                      <a:pt x="573" y="535"/>
                    </a:lnTo>
                    <a:lnTo>
                      <a:pt x="534" y="544"/>
                    </a:lnTo>
                    <a:lnTo>
                      <a:pt x="502" y="587"/>
                    </a:lnTo>
                    <a:lnTo>
                      <a:pt x="462" y="612"/>
                    </a:lnTo>
                    <a:lnTo>
                      <a:pt x="411" y="625"/>
                    </a:lnTo>
                    <a:lnTo>
                      <a:pt x="407" y="639"/>
                    </a:lnTo>
                    <a:lnTo>
                      <a:pt x="439" y="634"/>
                    </a:lnTo>
                    <a:lnTo>
                      <a:pt x="508" y="612"/>
                    </a:lnTo>
                    <a:lnTo>
                      <a:pt x="534" y="593"/>
                    </a:lnTo>
                    <a:lnTo>
                      <a:pt x="549" y="574"/>
                    </a:lnTo>
                    <a:lnTo>
                      <a:pt x="573" y="570"/>
                    </a:lnTo>
                    <a:lnTo>
                      <a:pt x="573" y="593"/>
                    </a:lnTo>
                    <a:lnTo>
                      <a:pt x="587" y="615"/>
                    </a:lnTo>
                    <a:lnTo>
                      <a:pt x="600" y="639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4" y="679"/>
                    </a:lnTo>
                    <a:lnTo>
                      <a:pt x="514" y="699"/>
                    </a:lnTo>
                    <a:lnTo>
                      <a:pt x="426" y="725"/>
                    </a:lnTo>
                    <a:lnTo>
                      <a:pt x="361" y="748"/>
                    </a:lnTo>
                    <a:lnTo>
                      <a:pt x="336" y="761"/>
                    </a:lnTo>
                    <a:lnTo>
                      <a:pt x="355" y="777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4" y="723"/>
                    </a:lnTo>
                    <a:lnTo>
                      <a:pt x="536" y="744"/>
                    </a:lnTo>
                    <a:lnTo>
                      <a:pt x="549" y="783"/>
                    </a:lnTo>
                    <a:lnTo>
                      <a:pt x="573" y="815"/>
                    </a:lnTo>
                    <a:lnTo>
                      <a:pt x="575" y="840"/>
                    </a:lnTo>
                    <a:lnTo>
                      <a:pt x="573" y="864"/>
                    </a:lnTo>
                    <a:lnTo>
                      <a:pt x="546" y="873"/>
                    </a:lnTo>
                    <a:lnTo>
                      <a:pt x="502" y="883"/>
                    </a:lnTo>
                    <a:lnTo>
                      <a:pt x="443" y="910"/>
                    </a:lnTo>
                    <a:lnTo>
                      <a:pt x="359" y="922"/>
                    </a:lnTo>
                    <a:lnTo>
                      <a:pt x="328" y="938"/>
                    </a:lnTo>
                    <a:lnTo>
                      <a:pt x="349" y="948"/>
                    </a:lnTo>
                    <a:lnTo>
                      <a:pt x="424" y="938"/>
                    </a:lnTo>
                    <a:lnTo>
                      <a:pt x="476" y="918"/>
                    </a:lnTo>
                    <a:lnTo>
                      <a:pt x="510" y="905"/>
                    </a:lnTo>
                    <a:lnTo>
                      <a:pt x="540" y="899"/>
                    </a:lnTo>
                    <a:lnTo>
                      <a:pt x="536" y="922"/>
                    </a:lnTo>
                    <a:lnTo>
                      <a:pt x="549" y="954"/>
                    </a:lnTo>
                    <a:lnTo>
                      <a:pt x="568" y="974"/>
                    </a:lnTo>
                    <a:lnTo>
                      <a:pt x="573" y="995"/>
                    </a:lnTo>
                    <a:lnTo>
                      <a:pt x="573" y="1014"/>
                    </a:lnTo>
                    <a:lnTo>
                      <a:pt x="546" y="1025"/>
                    </a:lnTo>
                    <a:lnTo>
                      <a:pt x="497" y="1028"/>
                    </a:lnTo>
                    <a:lnTo>
                      <a:pt x="462" y="1038"/>
                    </a:lnTo>
                    <a:lnTo>
                      <a:pt x="385" y="1065"/>
                    </a:lnTo>
                    <a:lnTo>
                      <a:pt x="342" y="1066"/>
                    </a:lnTo>
                    <a:lnTo>
                      <a:pt x="328" y="1085"/>
                    </a:lnTo>
                    <a:lnTo>
                      <a:pt x="347" y="1092"/>
                    </a:lnTo>
                    <a:lnTo>
                      <a:pt x="385" y="1084"/>
                    </a:lnTo>
                    <a:lnTo>
                      <a:pt x="443" y="1066"/>
                    </a:lnTo>
                    <a:lnTo>
                      <a:pt x="476" y="1054"/>
                    </a:lnTo>
                    <a:lnTo>
                      <a:pt x="516" y="1044"/>
                    </a:lnTo>
                    <a:lnTo>
                      <a:pt x="549" y="1047"/>
                    </a:lnTo>
                    <a:lnTo>
                      <a:pt x="560" y="1047"/>
                    </a:lnTo>
                    <a:lnTo>
                      <a:pt x="560" y="1077"/>
                    </a:lnTo>
                    <a:lnTo>
                      <a:pt x="568" y="1092"/>
                    </a:lnTo>
                    <a:lnTo>
                      <a:pt x="510" y="1106"/>
                    </a:lnTo>
                    <a:lnTo>
                      <a:pt x="459" y="1144"/>
                    </a:lnTo>
                    <a:lnTo>
                      <a:pt x="401" y="1163"/>
                    </a:lnTo>
                    <a:lnTo>
                      <a:pt x="361" y="1169"/>
                    </a:lnTo>
                    <a:lnTo>
                      <a:pt x="329" y="1187"/>
                    </a:lnTo>
                    <a:lnTo>
                      <a:pt x="342" y="1199"/>
                    </a:lnTo>
                    <a:lnTo>
                      <a:pt x="375" y="1188"/>
                    </a:lnTo>
                    <a:lnTo>
                      <a:pt x="411" y="1176"/>
                    </a:lnTo>
                    <a:lnTo>
                      <a:pt x="453" y="1169"/>
                    </a:lnTo>
                    <a:lnTo>
                      <a:pt x="489" y="1148"/>
                    </a:lnTo>
                    <a:lnTo>
                      <a:pt x="508" y="1128"/>
                    </a:lnTo>
                    <a:lnTo>
                      <a:pt x="534" y="1125"/>
                    </a:lnTo>
                    <a:lnTo>
                      <a:pt x="566" y="1125"/>
                    </a:lnTo>
                    <a:lnTo>
                      <a:pt x="575" y="1128"/>
                    </a:lnTo>
                    <a:lnTo>
                      <a:pt x="586" y="1150"/>
                    </a:lnTo>
                    <a:lnTo>
                      <a:pt x="592" y="1176"/>
                    </a:lnTo>
                    <a:lnTo>
                      <a:pt x="586" y="1199"/>
                    </a:lnTo>
                    <a:lnTo>
                      <a:pt x="573" y="1212"/>
                    </a:lnTo>
                    <a:lnTo>
                      <a:pt x="562" y="1245"/>
                    </a:lnTo>
                    <a:lnTo>
                      <a:pt x="573" y="1258"/>
                    </a:lnTo>
                    <a:lnTo>
                      <a:pt x="586" y="1271"/>
                    </a:lnTo>
                    <a:lnTo>
                      <a:pt x="586" y="1283"/>
                    </a:lnTo>
                    <a:lnTo>
                      <a:pt x="568" y="128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7" name="Freeform 383"/>
              <p:cNvSpPr>
                <a:spLocks/>
              </p:cNvSpPr>
              <p:nvPr/>
            </p:nvSpPr>
            <p:spPr bwMode="auto">
              <a:xfrm>
                <a:off x="4709" y="1491"/>
                <a:ext cx="49" cy="16"/>
              </a:xfrm>
              <a:custGeom>
                <a:avLst/>
                <a:gdLst>
                  <a:gd name="T0" fmla="*/ 0 w 194"/>
                  <a:gd name="T1" fmla="*/ 51 h 63"/>
                  <a:gd name="T2" fmla="*/ 77 w 194"/>
                  <a:gd name="T3" fmla="*/ 49 h 63"/>
                  <a:gd name="T4" fmla="*/ 107 w 194"/>
                  <a:gd name="T5" fmla="*/ 32 h 63"/>
                  <a:gd name="T6" fmla="*/ 133 w 194"/>
                  <a:gd name="T7" fmla="*/ 13 h 63"/>
                  <a:gd name="T8" fmla="*/ 181 w 194"/>
                  <a:gd name="T9" fmla="*/ 0 h 63"/>
                  <a:gd name="T10" fmla="*/ 194 w 194"/>
                  <a:gd name="T11" fmla="*/ 13 h 63"/>
                  <a:gd name="T12" fmla="*/ 173 w 194"/>
                  <a:gd name="T13" fmla="*/ 19 h 63"/>
                  <a:gd name="T14" fmla="*/ 140 w 194"/>
                  <a:gd name="T15" fmla="*/ 37 h 63"/>
                  <a:gd name="T16" fmla="*/ 122 w 194"/>
                  <a:gd name="T17" fmla="*/ 49 h 63"/>
                  <a:gd name="T18" fmla="*/ 90 w 194"/>
                  <a:gd name="T19" fmla="*/ 57 h 63"/>
                  <a:gd name="T20" fmla="*/ 42 w 194"/>
                  <a:gd name="T21" fmla="*/ 62 h 63"/>
                  <a:gd name="T22" fmla="*/ 4 w 194"/>
                  <a:gd name="T23" fmla="*/ 63 h 63"/>
                  <a:gd name="T24" fmla="*/ 0 w 194"/>
                  <a:gd name="T25" fmla="*/ 51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4"/>
                  <a:gd name="T40" fmla="*/ 0 h 63"/>
                  <a:gd name="T41" fmla="*/ 194 w 194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4" h="63">
                    <a:moveTo>
                      <a:pt x="0" y="51"/>
                    </a:moveTo>
                    <a:lnTo>
                      <a:pt x="77" y="49"/>
                    </a:lnTo>
                    <a:lnTo>
                      <a:pt x="107" y="32"/>
                    </a:lnTo>
                    <a:lnTo>
                      <a:pt x="133" y="13"/>
                    </a:lnTo>
                    <a:lnTo>
                      <a:pt x="181" y="0"/>
                    </a:lnTo>
                    <a:lnTo>
                      <a:pt x="194" y="13"/>
                    </a:lnTo>
                    <a:lnTo>
                      <a:pt x="173" y="19"/>
                    </a:lnTo>
                    <a:lnTo>
                      <a:pt x="140" y="37"/>
                    </a:lnTo>
                    <a:lnTo>
                      <a:pt x="122" y="49"/>
                    </a:lnTo>
                    <a:lnTo>
                      <a:pt x="90" y="57"/>
                    </a:lnTo>
                    <a:lnTo>
                      <a:pt x="42" y="62"/>
                    </a:lnTo>
                    <a:lnTo>
                      <a:pt x="4" y="63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8" name="Freeform 384"/>
              <p:cNvSpPr>
                <a:spLocks/>
              </p:cNvSpPr>
              <p:nvPr/>
            </p:nvSpPr>
            <p:spPr bwMode="auto">
              <a:xfrm>
                <a:off x="4635" y="1144"/>
                <a:ext cx="141" cy="76"/>
              </a:xfrm>
              <a:custGeom>
                <a:avLst/>
                <a:gdLst>
                  <a:gd name="T0" fmla="*/ 17 w 562"/>
                  <a:gd name="T1" fmla="*/ 35 h 305"/>
                  <a:gd name="T2" fmla="*/ 84 w 562"/>
                  <a:gd name="T3" fmla="*/ 38 h 305"/>
                  <a:gd name="T4" fmla="*/ 155 w 562"/>
                  <a:gd name="T5" fmla="*/ 41 h 305"/>
                  <a:gd name="T6" fmla="*/ 200 w 562"/>
                  <a:gd name="T7" fmla="*/ 41 h 305"/>
                  <a:gd name="T8" fmla="*/ 236 w 562"/>
                  <a:gd name="T9" fmla="*/ 32 h 305"/>
                  <a:gd name="T10" fmla="*/ 295 w 562"/>
                  <a:gd name="T11" fmla="*/ 15 h 305"/>
                  <a:gd name="T12" fmla="*/ 323 w 562"/>
                  <a:gd name="T13" fmla="*/ 0 h 305"/>
                  <a:gd name="T14" fmla="*/ 361 w 562"/>
                  <a:gd name="T15" fmla="*/ 21 h 305"/>
                  <a:gd name="T16" fmla="*/ 424 w 562"/>
                  <a:gd name="T17" fmla="*/ 65 h 305"/>
                  <a:gd name="T18" fmla="*/ 469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8 h 305"/>
                  <a:gd name="T24" fmla="*/ 529 w 562"/>
                  <a:gd name="T25" fmla="*/ 195 h 305"/>
                  <a:gd name="T26" fmla="*/ 497 w 562"/>
                  <a:gd name="T27" fmla="*/ 225 h 305"/>
                  <a:gd name="T28" fmla="*/ 445 w 562"/>
                  <a:gd name="T29" fmla="*/ 247 h 305"/>
                  <a:gd name="T30" fmla="*/ 391 w 562"/>
                  <a:gd name="T31" fmla="*/ 270 h 305"/>
                  <a:gd name="T32" fmla="*/ 342 w 562"/>
                  <a:gd name="T33" fmla="*/ 289 h 305"/>
                  <a:gd name="T34" fmla="*/ 296 w 562"/>
                  <a:gd name="T35" fmla="*/ 296 h 305"/>
                  <a:gd name="T36" fmla="*/ 250 w 562"/>
                  <a:gd name="T37" fmla="*/ 305 h 305"/>
                  <a:gd name="T38" fmla="*/ 191 w 562"/>
                  <a:gd name="T39" fmla="*/ 264 h 305"/>
                  <a:gd name="T40" fmla="*/ 146 w 562"/>
                  <a:gd name="T41" fmla="*/ 228 h 305"/>
                  <a:gd name="T42" fmla="*/ 95 w 562"/>
                  <a:gd name="T43" fmla="*/ 182 h 305"/>
                  <a:gd name="T44" fmla="*/ 51 w 562"/>
                  <a:gd name="T45" fmla="*/ 137 h 305"/>
                  <a:gd name="T46" fmla="*/ 19 w 562"/>
                  <a:gd name="T47" fmla="*/ 105 h 305"/>
                  <a:gd name="T48" fmla="*/ 0 w 562"/>
                  <a:gd name="T49" fmla="*/ 60 h 305"/>
                  <a:gd name="T50" fmla="*/ 17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7" y="35"/>
                    </a:moveTo>
                    <a:lnTo>
                      <a:pt x="84" y="38"/>
                    </a:lnTo>
                    <a:lnTo>
                      <a:pt x="155" y="41"/>
                    </a:lnTo>
                    <a:lnTo>
                      <a:pt x="200" y="41"/>
                    </a:lnTo>
                    <a:lnTo>
                      <a:pt x="236" y="32"/>
                    </a:lnTo>
                    <a:lnTo>
                      <a:pt x="295" y="15"/>
                    </a:lnTo>
                    <a:lnTo>
                      <a:pt x="323" y="0"/>
                    </a:lnTo>
                    <a:lnTo>
                      <a:pt x="361" y="21"/>
                    </a:lnTo>
                    <a:lnTo>
                      <a:pt x="424" y="65"/>
                    </a:lnTo>
                    <a:lnTo>
                      <a:pt x="469" y="96"/>
                    </a:lnTo>
                    <a:lnTo>
                      <a:pt x="527" y="137"/>
                    </a:lnTo>
                    <a:lnTo>
                      <a:pt x="562" y="168"/>
                    </a:lnTo>
                    <a:lnTo>
                      <a:pt x="529" y="195"/>
                    </a:lnTo>
                    <a:lnTo>
                      <a:pt x="497" y="225"/>
                    </a:lnTo>
                    <a:lnTo>
                      <a:pt x="445" y="247"/>
                    </a:lnTo>
                    <a:lnTo>
                      <a:pt x="391" y="270"/>
                    </a:lnTo>
                    <a:lnTo>
                      <a:pt x="342" y="289"/>
                    </a:lnTo>
                    <a:lnTo>
                      <a:pt x="296" y="296"/>
                    </a:lnTo>
                    <a:lnTo>
                      <a:pt x="250" y="305"/>
                    </a:lnTo>
                    <a:lnTo>
                      <a:pt x="191" y="264"/>
                    </a:lnTo>
                    <a:lnTo>
                      <a:pt x="146" y="228"/>
                    </a:lnTo>
                    <a:lnTo>
                      <a:pt x="95" y="182"/>
                    </a:lnTo>
                    <a:lnTo>
                      <a:pt x="51" y="137"/>
                    </a:lnTo>
                    <a:lnTo>
                      <a:pt x="19" y="105"/>
                    </a:lnTo>
                    <a:lnTo>
                      <a:pt x="0" y="60"/>
                    </a:lnTo>
                    <a:lnTo>
                      <a:pt x="17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9" name="Freeform 385"/>
              <p:cNvSpPr>
                <a:spLocks/>
              </p:cNvSpPr>
              <p:nvPr/>
            </p:nvSpPr>
            <p:spPr bwMode="auto">
              <a:xfrm>
                <a:off x="4632" y="1142"/>
                <a:ext cx="152" cy="88"/>
              </a:xfrm>
              <a:custGeom>
                <a:avLst/>
                <a:gdLst>
                  <a:gd name="T0" fmla="*/ 298 w 608"/>
                  <a:gd name="T1" fmla="*/ 304 h 355"/>
                  <a:gd name="T2" fmla="*/ 394 w 608"/>
                  <a:gd name="T3" fmla="*/ 277 h 355"/>
                  <a:gd name="T4" fmla="*/ 472 w 608"/>
                  <a:gd name="T5" fmla="*/ 244 h 355"/>
                  <a:gd name="T6" fmla="*/ 529 w 608"/>
                  <a:gd name="T7" fmla="*/ 204 h 355"/>
                  <a:gd name="T8" fmla="*/ 550 w 608"/>
                  <a:gd name="T9" fmla="*/ 181 h 355"/>
                  <a:gd name="T10" fmla="*/ 470 w 608"/>
                  <a:gd name="T11" fmla="*/ 108 h 355"/>
                  <a:gd name="T12" fmla="*/ 405 w 608"/>
                  <a:gd name="T13" fmla="*/ 69 h 355"/>
                  <a:gd name="T14" fmla="*/ 343 w 608"/>
                  <a:gd name="T15" fmla="*/ 30 h 355"/>
                  <a:gd name="T16" fmla="*/ 331 w 608"/>
                  <a:gd name="T17" fmla="*/ 30 h 355"/>
                  <a:gd name="T18" fmla="*/ 291 w 608"/>
                  <a:gd name="T19" fmla="*/ 43 h 355"/>
                  <a:gd name="T20" fmla="*/ 239 w 608"/>
                  <a:gd name="T21" fmla="*/ 58 h 355"/>
                  <a:gd name="T22" fmla="*/ 147 w 608"/>
                  <a:gd name="T23" fmla="*/ 65 h 355"/>
                  <a:gd name="T24" fmla="*/ 57 w 608"/>
                  <a:gd name="T25" fmla="*/ 63 h 355"/>
                  <a:gd name="T26" fmla="*/ 33 w 608"/>
                  <a:gd name="T27" fmla="*/ 65 h 355"/>
                  <a:gd name="T28" fmla="*/ 33 w 608"/>
                  <a:gd name="T29" fmla="*/ 82 h 355"/>
                  <a:gd name="T30" fmla="*/ 52 w 608"/>
                  <a:gd name="T31" fmla="*/ 108 h 355"/>
                  <a:gd name="T32" fmla="*/ 89 w 608"/>
                  <a:gd name="T33" fmla="*/ 155 h 355"/>
                  <a:gd name="T34" fmla="*/ 136 w 608"/>
                  <a:gd name="T35" fmla="*/ 193 h 355"/>
                  <a:gd name="T36" fmla="*/ 194 w 608"/>
                  <a:gd name="T37" fmla="*/ 250 h 355"/>
                  <a:gd name="T38" fmla="*/ 250 w 608"/>
                  <a:gd name="T39" fmla="*/ 291 h 355"/>
                  <a:gd name="T40" fmla="*/ 285 w 608"/>
                  <a:gd name="T41" fmla="*/ 315 h 355"/>
                  <a:gd name="T42" fmla="*/ 296 w 608"/>
                  <a:gd name="T43" fmla="*/ 340 h 355"/>
                  <a:gd name="T44" fmla="*/ 283 w 608"/>
                  <a:gd name="T45" fmla="*/ 355 h 355"/>
                  <a:gd name="T46" fmla="*/ 263 w 608"/>
                  <a:gd name="T47" fmla="*/ 347 h 355"/>
                  <a:gd name="T48" fmla="*/ 207 w 608"/>
                  <a:gd name="T49" fmla="*/ 295 h 355"/>
                  <a:gd name="T50" fmla="*/ 136 w 608"/>
                  <a:gd name="T51" fmla="*/ 237 h 355"/>
                  <a:gd name="T52" fmla="*/ 84 w 608"/>
                  <a:gd name="T53" fmla="*/ 193 h 355"/>
                  <a:gd name="T54" fmla="*/ 50 w 608"/>
                  <a:gd name="T55" fmla="*/ 155 h 355"/>
                  <a:gd name="T56" fmla="*/ 20 w 608"/>
                  <a:gd name="T57" fmla="*/ 114 h 355"/>
                  <a:gd name="T58" fmla="*/ 6 w 608"/>
                  <a:gd name="T59" fmla="*/ 88 h 355"/>
                  <a:gd name="T60" fmla="*/ 0 w 608"/>
                  <a:gd name="T61" fmla="*/ 58 h 355"/>
                  <a:gd name="T62" fmla="*/ 9 w 608"/>
                  <a:gd name="T63" fmla="*/ 39 h 355"/>
                  <a:gd name="T64" fmla="*/ 30 w 608"/>
                  <a:gd name="T65" fmla="*/ 30 h 355"/>
                  <a:gd name="T66" fmla="*/ 69 w 608"/>
                  <a:gd name="T67" fmla="*/ 33 h 355"/>
                  <a:gd name="T68" fmla="*/ 142 w 608"/>
                  <a:gd name="T69" fmla="*/ 43 h 355"/>
                  <a:gd name="T70" fmla="*/ 205 w 608"/>
                  <a:gd name="T71" fmla="*/ 43 h 355"/>
                  <a:gd name="T72" fmla="*/ 250 w 608"/>
                  <a:gd name="T73" fmla="*/ 30 h 355"/>
                  <a:gd name="T74" fmla="*/ 302 w 608"/>
                  <a:gd name="T75" fmla="*/ 19 h 355"/>
                  <a:gd name="T76" fmla="*/ 323 w 608"/>
                  <a:gd name="T77" fmla="*/ 0 h 355"/>
                  <a:gd name="T78" fmla="*/ 347 w 608"/>
                  <a:gd name="T79" fmla="*/ 0 h 355"/>
                  <a:gd name="T80" fmla="*/ 401 w 608"/>
                  <a:gd name="T81" fmla="*/ 33 h 355"/>
                  <a:gd name="T82" fmla="*/ 459 w 608"/>
                  <a:gd name="T83" fmla="*/ 77 h 355"/>
                  <a:gd name="T84" fmla="*/ 522 w 608"/>
                  <a:gd name="T85" fmla="*/ 117 h 355"/>
                  <a:gd name="T86" fmla="*/ 556 w 608"/>
                  <a:gd name="T87" fmla="*/ 142 h 355"/>
                  <a:gd name="T88" fmla="*/ 592 w 608"/>
                  <a:gd name="T89" fmla="*/ 166 h 355"/>
                  <a:gd name="T90" fmla="*/ 608 w 608"/>
                  <a:gd name="T91" fmla="*/ 174 h 355"/>
                  <a:gd name="T92" fmla="*/ 600 w 608"/>
                  <a:gd name="T93" fmla="*/ 192 h 355"/>
                  <a:gd name="T94" fmla="*/ 573 w 608"/>
                  <a:gd name="T95" fmla="*/ 207 h 355"/>
                  <a:gd name="T96" fmla="*/ 543 w 608"/>
                  <a:gd name="T97" fmla="*/ 233 h 355"/>
                  <a:gd name="T98" fmla="*/ 516 w 608"/>
                  <a:gd name="T99" fmla="*/ 244 h 355"/>
                  <a:gd name="T100" fmla="*/ 464 w 608"/>
                  <a:gd name="T101" fmla="*/ 265 h 355"/>
                  <a:gd name="T102" fmla="*/ 427 w 608"/>
                  <a:gd name="T103" fmla="*/ 282 h 355"/>
                  <a:gd name="T104" fmla="*/ 386 w 608"/>
                  <a:gd name="T105" fmla="*/ 307 h 355"/>
                  <a:gd name="T106" fmla="*/ 343 w 608"/>
                  <a:gd name="T107" fmla="*/ 315 h 355"/>
                  <a:gd name="T108" fmla="*/ 309 w 608"/>
                  <a:gd name="T109" fmla="*/ 317 h 355"/>
                  <a:gd name="T110" fmla="*/ 298 w 608"/>
                  <a:gd name="T111" fmla="*/ 304 h 35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8"/>
                  <a:gd name="T169" fmla="*/ 0 h 355"/>
                  <a:gd name="T170" fmla="*/ 608 w 608"/>
                  <a:gd name="T171" fmla="*/ 355 h 35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8" h="355">
                    <a:moveTo>
                      <a:pt x="298" y="304"/>
                    </a:moveTo>
                    <a:lnTo>
                      <a:pt x="394" y="277"/>
                    </a:lnTo>
                    <a:lnTo>
                      <a:pt x="472" y="244"/>
                    </a:lnTo>
                    <a:lnTo>
                      <a:pt x="529" y="204"/>
                    </a:lnTo>
                    <a:lnTo>
                      <a:pt x="550" y="181"/>
                    </a:lnTo>
                    <a:lnTo>
                      <a:pt x="470" y="108"/>
                    </a:lnTo>
                    <a:lnTo>
                      <a:pt x="405" y="69"/>
                    </a:lnTo>
                    <a:lnTo>
                      <a:pt x="343" y="30"/>
                    </a:lnTo>
                    <a:lnTo>
                      <a:pt x="331" y="30"/>
                    </a:lnTo>
                    <a:lnTo>
                      <a:pt x="291" y="43"/>
                    </a:lnTo>
                    <a:lnTo>
                      <a:pt x="239" y="58"/>
                    </a:lnTo>
                    <a:lnTo>
                      <a:pt x="147" y="65"/>
                    </a:lnTo>
                    <a:lnTo>
                      <a:pt x="57" y="63"/>
                    </a:lnTo>
                    <a:lnTo>
                      <a:pt x="33" y="65"/>
                    </a:lnTo>
                    <a:lnTo>
                      <a:pt x="33" y="82"/>
                    </a:lnTo>
                    <a:lnTo>
                      <a:pt x="52" y="108"/>
                    </a:lnTo>
                    <a:lnTo>
                      <a:pt x="89" y="155"/>
                    </a:lnTo>
                    <a:lnTo>
                      <a:pt x="136" y="193"/>
                    </a:lnTo>
                    <a:lnTo>
                      <a:pt x="194" y="250"/>
                    </a:lnTo>
                    <a:lnTo>
                      <a:pt x="250" y="291"/>
                    </a:lnTo>
                    <a:lnTo>
                      <a:pt x="285" y="315"/>
                    </a:lnTo>
                    <a:lnTo>
                      <a:pt x="296" y="340"/>
                    </a:lnTo>
                    <a:lnTo>
                      <a:pt x="283" y="355"/>
                    </a:lnTo>
                    <a:lnTo>
                      <a:pt x="263" y="347"/>
                    </a:lnTo>
                    <a:lnTo>
                      <a:pt x="207" y="295"/>
                    </a:lnTo>
                    <a:lnTo>
                      <a:pt x="136" y="237"/>
                    </a:lnTo>
                    <a:lnTo>
                      <a:pt x="84" y="193"/>
                    </a:lnTo>
                    <a:lnTo>
                      <a:pt x="50" y="155"/>
                    </a:lnTo>
                    <a:lnTo>
                      <a:pt x="20" y="114"/>
                    </a:lnTo>
                    <a:lnTo>
                      <a:pt x="6" y="88"/>
                    </a:lnTo>
                    <a:lnTo>
                      <a:pt x="0" y="58"/>
                    </a:lnTo>
                    <a:lnTo>
                      <a:pt x="9" y="39"/>
                    </a:lnTo>
                    <a:lnTo>
                      <a:pt x="30" y="30"/>
                    </a:lnTo>
                    <a:lnTo>
                      <a:pt x="69" y="33"/>
                    </a:lnTo>
                    <a:lnTo>
                      <a:pt x="142" y="43"/>
                    </a:lnTo>
                    <a:lnTo>
                      <a:pt x="205" y="43"/>
                    </a:lnTo>
                    <a:lnTo>
                      <a:pt x="250" y="30"/>
                    </a:lnTo>
                    <a:lnTo>
                      <a:pt x="302" y="19"/>
                    </a:lnTo>
                    <a:lnTo>
                      <a:pt x="323" y="0"/>
                    </a:lnTo>
                    <a:lnTo>
                      <a:pt x="347" y="0"/>
                    </a:lnTo>
                    <a:lnTo>
                      <a:pt x="401" y="33"/>
                    </a:lnTo>
                    <a:lnTo>
                      <a:pt x="459" y="77"/>
                    </a:lnTo>
                    <a:lnTo>
                      <a:pt x="522" y="117"/>
                    </a:lnTo>
                    <a:lnTo>
                      <a:pt x="556" y="142"/>
                    </a:lnTo>
                    <a:lnTo>
                      <a:pt x="592" y="166"/>
                    </a:lnTo>
                    <a:lnTo>
                      <a:pt x="608" y="174"/>
                    </a:lnTo>
                    <a:lnTo>
                      <a:pt x="600" y="192"/>
                    </a:lnTo>
                    <a:lnTo>
                      <a:pt x="573" y="207"/>
                    </a:lnTo>
                    <a:lnTo>
                      <a:pt x="543" y="233"/>
                    </a:lnTo>
                    <a:lnTo>
                      <a:pt x="516" y="244"/>
                    </a:lnTo>
                    <a:lnTo>
                      <a:pt x="464" y="265"/>
                    </a:lnTo>
                    <a:lnTo>
                      <a:pt x="427" y="282"/>
                    </a:lnTo>
                    <a:lnTo>
                      <a:pt x="386" y="307"/>
                    </a:lnTo>
                    <a:lnTo>
                      <a:pt x="343" y="315"/>
                    </a:lnTo>
                    <a:lnTo>
                      <a:pt x="309" y="317"/>
                    </a:lnTo>
                    <a:lnTo>
                      <a:pt x="298" y="3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0" name="Freeform 386"/>
              <p:cNvSpPr>
                <a:spLocks/>
              </p:cNvSpPr>
              <p:nvPr/>
            </p:nvSpPr>
            <p:spPr bwMode="auto">
              <a:xfrm>
                <a:off x="4717" y="1209"/>
                <a:ext cx="48" cy="30"/>
              </a:xfrm>
              <a:custGeom>
                <a:avLst/>
                <a:gdLst>
                  <a:gd name="T0" fmla="*/ 162 w 192"/>
                  <a:gd name="T1" fmla="*/ 14 h 122"/>
                  <a:gd name="T2" fmla="*/ 121 w 192"/>
                  <a:gd name="T3" fmla="*/ 47 h 122"/>
                  <a:gd name="T4" fmla="*/ 84 w 192"/>
                  <a:gd name="T5" fmla="*/ 77 h 122"/>
                  <a:gd name="T6" fmla="*/ 30 w 192"/>
                  <a:gd name="T7" fmla="*/ 96 h 122"/>
                  <a:gd name="T8" fmla="*/ 0 w 192"/>
                  <a:gd name="T9" fmla="*/ 106 h 122"/>
                  <a:gd name="T10" fmla="*/ 24 w 192"/>
                  <a:gd name="T11" fmla="*/ 122 h 122"/>
                  <a:gd name="T12" fmla="*/ 62 w 192"/>
                  <a:gd name="T13" fmla="*/ 116 h 122"/>
                  <a:gd name="T14" fmla="*/ 122 w 192"/>
                  <a:gd name="T15" fmla="*/ 77 h 122"/>
                  <a:gd name="T16" fmla="*/ 192 w 192"/>
                  <a:gd name="T17" fmla="*/ 0 h 122"/>
                  <a:gd name="T18" fmla="*/ 162 w 192"/>
                  <a:gd name="T19" fmla="*/ 14 h 1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2"/>
                  <a:gd name="T32" fmla="*/ 192 w 192"/>
                  <a:gd name="T33" fmla="*/ 122 h 12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2">
                    <a:moveTo>
                      <a:pt x="162" y="14"/>
                    </a:moveTo>
                    <a:lnTo>
                      <a:pt x="121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6"/>
                    </a:lnTo>
                    <a:lnTo>
                      <a:pt x="24" y="122"/>
                    </a:lnTo>
                    <a:lnTo>
                      <a:pt x="62" y="116"/>
                    </a:lnTo>
                    <a:lnTo>
                      <a:pt x="122" y="77"/>
                    </a:lnTo>
                    <a:lnTo>
                      <a:pt x="192" y="0"/>
                    </a:lnTo>
                    <a:lnTo>
                      <a:pt x="162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7" name="Group 405"/>
            <p:cNvGrpSpPr>
              <a:grpSpLocks/>
            </p:cNvGrpSpPr>
            <p:nvPr/>
          </p:nvGrpSpPr>
          <p:grpSpPr bwMode="auto">
            <a:xfrm>
              <a:off x="4368" y="1402"/>
              <a:ext cx="177" cy="400"/>
              <a:chOff x="4368" y="1402"/>
              <a:chExt cx="177" cy="400"/>
            </a:xfrm>
          </p:grpSpPr>
          <p:sp>
            <p:nvSpPr>
              <p:cNvPr id="147" name="Freeform 388"/>
              <p:cNvSpPr>
                <a:spLocks/>
              </p:cNvSpPr>
              <p:nvPr/>
            </p:nvSpPr>
            <p:spPr bwMode="auto">
              <a:xfrm>
                <a:off x="4371" y="1420"/>
                <a:ext cx="93" cy="377"/>
              </a:xfrm>
              <a:custGeom>
                <a:avLst/>
                <a:gdLst>
                  <a:gd name="T0" fmla="*/ 366 w 372"/>
                  <a:gd name="T1" fmla="*/ 271 h 1508"/>
                  <a:gd name="T2" fmla="*/ 372 w 372"/>
                  <a:gd name="T3" fmla="*/ 327 h 1508"/>
                  <a:gd name="T4" fmla="*/ 372 w 372"/>
                  <a:gd name="T5" fmla="*/ 626 h 1508"/>
                  <a:gd name="T6" fmla="*/ 346 w 372"/>
                  <a:gd name="T7" fmla="*/ 1026 h 1508"/>
                  <a:gd name="T8" fmla="*/ 348 w 372"/>
                  <a:gd name="T9" fmla="*/ 1282 h 1508"/>
                  <a:gd name="T10" fmla="*/ 362 w 372"/>
                  <a:gd name="T11" fmla="*/ 1459 h 1508"/>
                  <a:gd name="T12" fmla="*/ 348 w 372"/>
                  <a:gd name="T13" fmla="*/ 1508 h 1508"/>
                  <a:gd name="T14" fmla="*/ 327 w 372"/>
                  <a:gd name="T15" fmla="*/ 1497 h 1508"/>
                  <a:gd name="T16" fmla="*/ 201 w 372"/>
                  <a:gd name="T17" fmla="*/ 1400 h 1508"/>
                  <a:gd name="T18" fmla="*/ 168 w 372"/>
                  <a:gd name="T19" fmla="*/ 1381 h 1508"/>
                  <a:gd name="T20" fmla="*/ 149 w 372"/>
                  <a:gd name="T21" fmla="*/ 1353 h 1508"/>
                  <a:gd name="T22" fmla="*/ 117 w 372"/>
                  <a:gd name="T23" fmla="*/ 1316 h 1508"/>
                  <a:gd name="T24" fmla="*/ 73 w 372"/>
                  <a:gd name="T25" fmla="*/ 1277 h 1508"/>
                  <a:gd name="T26" fmla="*/ 52 w 372"/>
                  <a:gd name="T27" fmla="*/ 1226 h 1508"/>
                  <a:gd name="T28" fmla="*/ 0 w 372"/>
                  <a:gd name="T29" fmla="*/ 1181 h 1508"/>
                  <a:gd name="T30" fmla="*/ 0 w 372"/>
                  <a:gd name="T31" fmla="*/ 1155 h 1508"/>
                  <a:gd name="T32" fmla="*/ 28 w 372"/>
                  <a:gd name="T33" fmla="*/ 1120 h 1508"/>
                  <a:gd name="T34" fmla="*/ 39 w 372"/>
                  <a:gd name="T35" fmla="*/ 1076 h 1508"/>
                  <a:gd name="T36" fmla="*/ 33 w 372"/>
                  <a:gd name="T37" fmla="*/ 1052 h 1508"/>
                  <a:gd name="T38" fmla="*/ 19 w 372"/>
                  <a:gd name="T39" fmla="*/ 1013 h 1508"/>
                  <a:gd name="T40" fmla="*/ 15 w 372"/>
                  <a:gd name="T41" fmla="*/ 986 h 1508"/>
                  <a:gd name="T42" fmla="*/ 35 w 372"/>
                  <a:gd name="T43" fmla="*/ 942 h 1508"/>
                  <a:gd name="T44" fmla="*/ 35 w 372"/>
                  <a:gd name="T45" fmla="*/ 914 h 1508"/>
                  <a:gd name="T46" fmla="*/ 13 w 372"/>
                  <a:gd name="T47" fmla="*/ 856 h 1508"/>
                  <a:gd name="T48" fmla="*/ 13 w 372"/>
                  <a:gd name="T49" fmla="*/ 824 h 1508"/>
                  <a:gd name="T50" fmla="*/ 25 w 372"/>
                  <a:gd name="T51" fmla="*/ 798 h 1508"/>
                  <a:gd name="T52" fmla="*/ 47 w 372"/>
                  <a:gd name="T53" fmla="*/ 768 h 1508"/>
                  <a:gd name="T54" fmla="*/ 46 w 372"/>
                  <a:gd name="T55" fmla="*/ 717 h 1508"/>
                  <a:gd name="T56" fmla="*/ 33 w 372"/>
                  <a:gd name="T57" fmla="*/ 675 h 1508"/>
                  <a:gd name="T58" fmla="*/ 46 w 372"/>
                  <a:gd name="T59" fmla="*/ 626 h 1508"/>
                  <a:gd name="T60" fmla="*/ 58 w 372"/>
                  <a:gd name="T61" fmla="*/ 614 h 1508"/>
                  <a:gd name="T62" fmla="*/ 47 w 372"/>
                  <a:gd name="T63" fmla="*/ 568 h 1508"/>
                  <a:gd name="T64" fmla="*/ 19 w 372"/>
                  <a:gd name="T65" fmla="*/ 520 h 1508"/>
                  <a:gd name="T66" fmla="*/ 13 w 372"/>
                  <a:gd name="T67" fmla="*/ 489 h 1508"/>
                  <a:gd name="T68" fmla="*/ 19 w 372"/>
                  <a:gd name="T69" fmla="*/ 459 h 1508"/>
                  <a:gd name="T70" fmla="*/ 54 w 372"/>
                  <a:gd name="T71" fmla="*/ 432 h 1508"/>
                  <a:gd name="T72" fmla="*/ 52 w 372"/>
                  <a:gd name="T73" fmla="*/ 411 h 1508"/>
                  <a:gd name="T74" fmla="*/ 15 w 372"/>
                  <a:gd name="T75" fmla="*/ 342 h 1508"/>
                  <a:gd name="T76" fmla="*/ 3 w 372"/>
                  <a:gd name="T77" fmla="*/ 288 h 1508"/>
                  <a:gd name="T78" fmla="*/ 13 w 372"/>
                  <a:gd name="T79" fmla="*/ 258 h 1508"/>
                  <a:gd name="T80" fmla="*/ 47 w 372"/>
                  <a:gd name="T81" fmla="*/ 231 h 1508"/>
                  <a:gd name="T82" fmla="*/ 39 w 372"/>
                  <a:gd name="T83" fmla="*/ 207 h 1508"/>
                  <a:gd name="T84" fmla="*/ 15 w 372"/>
                  <a:gd name="T85" fmla="*/ 179 h 1508"/>
                  <a:gd name="T86" fmla="*/ 15 w 372"/>
                  <a:gd name="T87" fmla="*/ 149 h 1508"/>
                  <a:gd name="T88" fmla="*/ 54 w 372"/>
                  <a:gd name="T89" fmla="*/ 129 h 1508"/>
                  <a:gd name="T90" fmla="*/ 71 w 372"/>
                  <a:gd name="T91" fmla="*/ 107 h 1508"/>
                  <a:gd name="T92" fmla="*/ 39 w 372"/>
                  <a:gd name="T93" fmla="*/ 63 h 1508"/>
                  <a:gd name="T94" fmla="*/ 39 w 372"/>
                  <a:gd name="T95" fmla="*/ 39 h 1508"/>
                  <a:gd name="T96" fmla="*/ 77 w 372"/>
                  <a:gd name="T97" fmla="*/ 24 h 1508"/>
                  <a:gd name="T98" fmla="*/ 79 w 372"/>
                  <a:gd name="T99" fmla="*/ 0 h 1508"/>
                  <a:gd name="T100" fmla="*/ 123 w 372"/>
                  <a:gd name="T101" fmla="*/ 63 h 1508"/>
                  <a:gd name="T102" fmla="*/ 174 w 372"/>
                  <a:gd name="T103" fmla="*/ 127 h 1508"/>
                  <a:gd name="T104" fmla="*/ 239 w 372"/>
                  <a:gd name="T105" fmla="*/ 179 h 1508"/>
                  <a:gd name="T106" fmla="*/ 291 w 372"/>
                  <a:gd name="T107" fmla="*/ 220 h 1508"/>
                  <a:gd name="T108" fmla="*/ 346 w 372"/>
                  <a:gd name="T109" fmla="*/ 252 h 1508"/>
                  <a:gd name="T110" fmla="*/ 366 w 372"/>
                  <a:gd name="T111" fmla="*/ 271 h 15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2"/>
                  <a:gd name="T169" fmla="*/ 0 h 1508"/>
                  <a:gd name="T170" fmla="*/ 372 w 372"/>
                  <a:gd name="T171" fmla="*/ 1508 h 15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2" h="1508">
                    <a:moveTo>
                      <a:pt x="366" y="271"/>
                    </a:moveTo>
                    <a:lnTo>
                      <a:pt x="372" y="327"/>
                    </a:lnTo>
                    <a:lnTo>
                      <a:pt x="372" y="626"/>
                    </a:lnTo>
                    <a:lnTo>
                      <a:pt x="346" y="1026"/>
                    </a:lnTo>
                    <a:lnTo>
                      <a:pt x="348" y="1282"/>
                    </a:lnTo>
                    <a:lnTo>
                      <a:pt x="362" y="1459"/>
                    </a:lnTo>
                    <a:lnTo>
                      <a:pt x="348" y="1508"/>
                    </a:lnTo>
                    <a:lnTo>
                      <a:pt x="327" y="1497"/>
                    </a:lnTo>
                    <a:lnTo>
                      <a:pt x="201" y="1400"/>
                    </a:lnTo>
                    <a:lnTo>
                      <a:pt x="168" y="1381"/>
                    </a:lnTo>
                    <a:lnTo>
                      <a:pt x="149" y="1353"/>
                    </a:lnTo>
                    <a:lnTo>
                      <a:pt x="117" y="1316"/>
                    </a:lnTo>
                    <a:lnTo>
                      <a:pt x="73" y="1277"/>
                    </a:lnTo>
                    <a:lnTo>
                      <a:pt x="52" y="1226"/>
                    </a:lnTo>
                    <a:lnTo>
                      <a:pt x="0" y="1181"/>
                    </a:lnTo>
                    <a:lnTo>
                      <a:pt x="0" y="1155"/>
                    </a:lnTo>
                    <a:lnTo>
                      <a:pt x="28" y="1120"/>
                    </a:lnTo>
                    <a:lnTo>
                      <a:pt x="39" y="1076"/>
                    </a:lnTo>
                    <a:lnTo>
                      <a:pt x="33" y="1052"/>
                    </a:lnTo>
                    <a:lnTo>
                      <a:pt x="19" y="1013"/>
                    </a:lnTo>
                    <a:lnTo>
                      <a:pt x="15" y="986"/>
                    </a:lnTo>
                    <a:lnTo>
                      <a:pt x="35" y="942"/>
                    </a:lnTo>
                    <a:lnTo>
                      <a:pt x="35" y="914"/>
                    </a:lnTo>
                    <a:lnTo>
                      <a:pt x="13" y="856"/>
                    </a:lnTo>
                    <a:lnTo>
                      <a:pt x="13" y="824"/>
                    </a:lnTo>
                    <a:lnTo>
                      <a:pt x="25" y="798"/>
                    </a:lnTo>
                    <a:lnTo>
                      <a:pt x="47" y="768"/>
                    </a:lnTo>
                    <a:lnTo>
                      <a:pt x="46" y="717"/>
                    </a:lnTo>
                    <a:lnTo>
                      <a:pt x="33" y="675"/>
                    </a:lnTo>
                    <a:lnTo>
                      <a:pt x="46" y="626"/>
                    </a:lnTo>
                    <a:lnTo>
                      <a:pt x="58" y="614"/>
                    </a:lnTo>
                    <a:lnTo>
                      <a:pt x="47" y="568"/>
                    </a:lnTo>
                    <a:lnTo>
                      <a:pt x="19" y="520"/>
                    </a:lnTo>
                    <a:lnTo>
                      <a:pt x="13" y="489"/>
                    </a:lnTo>
                    <a:lnTo>
                      <a:pt x="19" y="459"/>
                    </a:lnTo>
                    <a:lnTo>
                      <a:pt x="54" y="432"/>
                    </a:lnTo>
                    <a:lnTo>
                      <a:pt x="52" y="411"/>
                    </a:lnTo>
                    <a:lnTo>
                      <a:pt x="15" y="342"/>
                    </a:lnTo>
                    <a:lnTo>
                      <a:pt x="3" y="288"/>
                    </a:lnTo>
                    <a:lnTo>
                      <a:pt x="13" y="258"/>
                    </a:lnTo>
                    <a:lnTo>
                      <a:pt x="47" y="231"/>
                    </a:lnTo>
                    <a:lnTo>
                      <a:pt x="39" y="207"/>
                    </a:lnTo>
                    <a:lnTo>
                      <a:pt x="15" y="179"/>
                    </a:lnTo>
                    <a:lnTo>
                      <a:pt x="15" y="149"/>
                    </a:lnTo>
                    <a:lnTo>
                      <a:pt x="54" y="129"/>
                    </a:lnTo>
                    <a:lnTo>
                      <a:pt x="71" y="107"/>
                    </a:lnTo>
                    <a:lnTo>
                      <a:pt x="39" y="63"/>
                    </a:lnTo>
                    <a:lnTo>
                      <a:pt x="39" y="39"/>
                    </a:lnTo>
                    <a:lnTo>
                      <a:pt x="77" y="24"/>
                    </a:lnTo>
                    <a:lnTo>
                      <a:pt x="79" y="0"/>
                    </a:lnTo>
                    <a:lnTo>
                      <a:pt x="123" y="63"/>
                    </a:lnTo>
                    <a:lnTo>
                      <a:pt x="174" y="127"/>
                    </a:lnTo>
                    <a:lnTo>
                      <a:pt x="239" y="179"/>
                    </a:lnTo>
                    <a:lnTo>
                      <a:pt x="291" y="220"/>
                    </a:lnTo>
                    <a:lnTo>
                      <a:pt x="346" y="252"/>
                    </a:lnTo>
                    <a:lnTo>
                      <a:pt x="366" y="27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" name="Freeform 389"/>
              <p:cNvSpPr>
                <a:spLocks/>
              </p:cNvSpPr>
              <p:nvPr/>
            </p:nvSpPr>
            <p:spPr bwMode="auto">
              <a:xfrm>
                <a:off x="4368" y="1426"/>
                <a:ext cx="26" cy="287"/>
              </a:xfrm>
              <a:custGeom>
                <a:avLst/>
                <a:gdLst>
                  <a:gd name="T0" fmla="*/ 73 w 107"/>
                  <a:gd name="T1" fmla="*/ 38 h 1149"/>
                  <a:gd name="T2" fmla="*/ 107 w 107"/>
                  <a:gd name="T3" fmla="*/ 79 h 1149"/>
                  <a:gd name="T4" fmla="*/ 86 w 107"/>
                  <a:gd name="T5" fmla="*/ 112 h 1149"/>
                  <a:gd name="T6" fmla="*/ 41 w 107"/>
                  <a:gd name="T7" fmla="*/ 134 h 1149"/>
                  <a:gd name="T8" fmla="*/ 59 w 107"/>
                  <a:gd name="T9" fmla="*/ 167 h 1149"/>
                  <a:gd name="T10" fmla="*/ 79 w 107"/>
                  <a:gd name="T11" fmla="*/ 208 h 1149"/>
                  <a:gd name="T12" fmla="*/ 54 w 107"/>
                  <a:gd name="T13" fmla="*/ 234 h 1149"/>
                  <a:gd name="T14" fmla="*/ 32 w 107"/>
                  <a:gd name="T15" fmla="*/ 266 h 1149"/>
                  <a:gd name="T16" fmla="*/ 54 w 107"/>
                  <a:gd name="T17" fmla="*/ 324 h 1149"/>
                  <a:gd name="T18" fmla="*/ 79 w 107"/>
                  <a:gd name="T19" fmla="*/ 376 h 1149"/>
                  <a:gd name="T20" fmla="*/ 73 w 107"/>
                  <a:gd name="T21" fmla="*/ 421 h 1149"/>
                  <a:gd name="T22" fmla="*/ 41 w 107"/>
                  <a:gd name="T23" fmla="*/ 460 h 1149"/>
                  <a:gd name="T24" fmla="*/ 78 w 107"/>
                  <a:gd name="T25" fmla="*/ 541 h 1149"/>
                  <a:gd name="T26" fmla="*/ 92 w 107"/>
                  <a:gd name="T27" fmla="*/ 593 h 1149"/>
                  <a:gd name="T28" fmla="*/ 65 w 107"/>
                  <a:gd name="T29" fmla="*/ 631 h 1149"/>
                  <a:gd name="T30" fmla="*/ 71 w 107"/>
                  <a:gd name="T31" fmla="*/ 690 h 1149"/>
                  <a:gd name="T32" fmla="*/ 90 w 107"/>
                  <a:gd name="T33" fmla="*/ 748 h 1149"/>
                  <a:gd name="T34" fmla="*/ 67 w 107"/>
                  <a:gd name="T35" fmla="*/ 780 h 1149"/>
                  <a:gd name="T36" fmla="*/ 35 w 107"/>
                  <a:gd name="T37" fmla="*/ 819 h 1149"/>
                  <a:gd name="T38" fmla="*/ 67 w 107"/>
                  <a:gd name="T39" fmla="*/ 889 h 1149"/>
                  <a:gd name="T40" fmla="*/ 79 w 107"/>
                  <a:gd name="T41" fmla="*/ 937 h 1149"/>
                  <a:gd name="T42" fmla="*/ 51 w 107"/>
                  <a:gd name="T43" fmla="*/ 948 h 1149"/>
                  <a:gd name="T44" fmla="*/ 59 w 107"/>
                  <a:gd name="T45" fmla="*/ 1025 h 1149"/>
                  <a:gd name="T46" fmla="*/ 73 w 107"/>
                  <a:gd name="T47" fmla="*/ 1066 h 1149"/>
                  <a:gd name="T48" fmla="*/ 51 w 107"/>
                  <a:gd name="T49" fmla="*/ 1111 h 1149"/>
                  <a:gd name="T50" fmla="*/ 2 w 107"/>
                  <a:gd name="T51" fmla="*/ 1136 h 1149"/>
                  <a:gd name="T52" fmla="*/ 39 w 107"/>
                  <a:gd name="T53" fmla="*/ 1057 h 1149"/>
                  <a:gd name="T54" fmla="*/ 21 w 107"/>
                  <a:gd name="T55" fmla="*/ 993 h 1149"/>
                  <a:gd name="T56" fmla="*/ 26 w 107"/>
                  <a:gd name="T57" fmla="*/ 937 h 1149"/>
                  <a:gd name="T58" fmla="*/ 41 w 107"/>
                  <a:gd name="T59" fmla="*/ 910 h 1149"/>
                  <a:gd name="T60" fmla="*/ 9 w 107"/>
                  <a:gd name="T61" fmla="*/ 840 h 1149"/>
                  <a:gd name="T62" fmla="*/ 9 w 107"/>
                  <a:gd name="T63" fmla="*/ 769 h 1149"/>
                  <a:gd name="T64" fmla="*/ 48 w 107"/>
                  <a:gd name="T65" fmla="*/ 737 h 1149"/>
                  <a:gd name="T66" fmla="*/ 39 w 107"/>
                  <a:gd name="T67" fmla="*/ 685 h 1149"/>
                  <a:gd name="T68" fmla="*/ 29 w 107"/>
                  <a:gd name="T69" fmla="*/ 625 h 1149"/>
                  <a:gd name="T70" fmla="*/ 59 w 107"/>
                  <a:gd name="T71" fmla="*/ 587 h 1149"/>
                  <a:gd name="T72" fmla="*/ 45 w 107"/>
                  <a:gd name="T73" fmla="*/ 544 h 1149"/>
                  <a:gd name="T74" fmla="*/ 9 w 107"/>
                  <a:gd name="T75" fmla="*/ 476 h 1149"/>
                  <a:gd name="T76" fmla="*/ 15 w 107"/>
                  <a:gd name="T77" fmla="*/ 432 h 1149"/>
                  <a:gd name="T78" fmla="*/ 48 w 107"/>
                  <a:gd name="T79" fmla="*/ 395 h 1149"/>
                  <a:gd name="T80" fmla="*/ 13 w 107"/>
                  <a:gd name="T81" fmla="*/ 310 h 1149"/>
                  <a:gd name="T82" fmla="*/ 0 w 107"/>
                  <a:gd name="T83" fmla="*/ 259 h 1149"/>
                  <a:gd name="T84" fmla="*/ 29 w 107"/>
                  <a:gd name="T85" fmla="*/ 221 h 1149"/>
                  <a:gd name="T86" fmla="*/ 41 w 107"/>
                  <a:gd name="T87" fmla="*/ 196 h 1149"/>
                  <a:gd name="T88" fmla="*/ 9 w 107"/>
                  <a:gd name="T89" fmla="*/ 155 h 1149"/>
                  <a:gd name="T90" fmla="*/ 21 w 107"/>
                  <a:gd name="T91" fmla="*/ 115 h 1149"/>
                  <a:gd name="T92" fmla="*/ 59 w 107"/>
                  <a:gd name="T93" fmla="*/ 90 h 1149"/>
                  <a:gd name="T94" fmla="*/ 60 w 107"/>
                  <a:gd name="T95" fmla="*/ 60 h 1149"/>
                  <a:gd name="T96" fmla="*/ 41 w 107"/>
                  <a:gd name="T97" fmla="*/ 20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7"/>
                  <a:gd name="T148" fmla="*/ 0 h 1149"/>
                  <a:gd name="T149" fmla="*/ 107 w 107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7" h="1149">
                    <a:moveTo>
                      <a:pt x="54" y="0"/>
                    </a:moveTo>
                    <a:lnTo>
                      <a:pt x="73" y="38"/>
                    </a:lnTo>
                    <a:lnTo>
                      <a:pt x="90" y="64"/>
                    </a:lnTo>
                    <a:lnTo>
                      <a:pt x="107" y="79"/>
                    </a:lnTo>
                    <a:lnTo>
                      <a:pt x="103" y="98"/>
                    </a:lnTo>
                    <a:lnTo>
                      <a:pt x="86" y="112"/>
                    </a:lnTo>
                    <a:lnTo>
                      <a:pt x="60" y="118"/>
                    </a:lnTo>
                    <a:lnTo>
                      <a:pt x="41" y="134"/>
                    </a:lnTo>
                    <a:lnTo>
                      <a:pt x="45" y="155"/>
                    </a:lnTo>
                    <a:lnTo>
                      <a:pt x="59" y="167"/>
                    </a:lnTo>
                    <a:lnTo>
                      <a:pt x="79" y="193"/>
                    </a:lnTo>
                    <a:lnTo>
                      <a:pt x="79" y="208"/>
                    </a:lnTo>
                    <a:lnTo>
                      <a:pt x="73" y="221"/>
                    </a:lnTo>
                    <a:lnTo>
                      <a:pt x="54" y="234"/>
                    </a:lnTo>
                    <a:lnTo>
                      <a:pt x="35" y="247"/>
                    </a:lnTo>
                    <a:lnTo>
                      <a:pt x="32" y="266"/>
                    </a:lnTo>
                    <a:lnTo>
                      <a:pt x="39" y="286"/>
                    </a:lnTo>
                    <a:lnTo>
                      <a:pt x="54" y="324"/>
                    </a:lnTo>
                    <a:lnTo>
                      <a:pt x="67" y="354"/>
                    </a:lnTo>
                    <a:lnTo>
                      <a:pt x="79" y="376"/>
                    </a:lnTo>
                    <a:lnTo>
                      <a:pt x="79" y="400"/>
                    </a:lnTo>
                    <a:lnTo>
                      <a:pt x="73" y="421"/>
                    </a:lnTo>
                    <a:lnTo>
                      <a:pt x="54" y="440"/>
                    </a:lnTo>
                    <a:lnTo>
                      <a:pt x="41" y="460"/>
                    </a:lnTo>
                    <a:lnTo>
                      <a:pt x="45" y="492"/>
                    </a:lnTo>
                    <a:lnTo>
                      <a:pt x="78" y="541"/>
                    </a:lnTo>
                    <a:lnTo>
                      <a:pt x="90" y="568"/>
                    </a:lnTo>
                    <a:lnTo>
                      <a:pt x="92" y="593"/>
                    </a:lnTo>
                    <a:lnTo>
                      <a:pt x="79" y="612"/>
                    </a:lnTo>
                    <a:lnTo>
                      <a:pt x="65" y="631"/>
                    </a:lnTo>
                    <a:lnTo>
                      <a:pt x="60" y="658"/>
                    </a:lnTo>
                    <a:lnTo>
                      <a:pt x="71" y="690"/>
                    </a:lnTo>
                    <a:lnTo>
                      <a:pt x="84" y="724"/>
                    </a:lnTo>
                    <a:lnTo>
                      <a:pt x="90" y="748"/>
                    </a:lnTo>
                    <a:lnTo>
                      <a:pt x="84" y="763"/>
                    </a:lnTo>
                    <a:lnTo>
                      <a:pt x="67" y="780"/>
                    </a:lnTo>
                    <a:lnTo>
                      <a:pt x="45" y="799"/>
                    </a:lnTo>
                    <a:lnTo>
                      <a:pt x="35" y="819"/>
                    </a:lnTo>
                    <a:lnTo>
                      <a:pt x="45" y="853"/>
                    </a:lnTo>
                    <a:lnTo>
                      <a:pt x="67" y="889"/>
                    </a:lnTo>
                    <a:lnTo>
                      <a:pt x="78" y="916"/>
                    </a:lnTo>
                    <a:lnTo>
                      <a:pt x="79" y="937"/>
                    </a:lnTo>
                    <a:lnTo>
                      <a:pt x="73" y="948"/>
                    </a:lnTo>
                    <a:lnTo>
                      <a:pt x="51" y="948"/>
                    </a:lnTo>
                    <a:lnTo>
                      <a:pt x="45" y="995"/>
                    </a:lnTo>
                    <a:lnTo>
                      <a:pt x="59" y="1025"/>
                    </a:lnTo>
                    <a:lnTo>
                      <a:pt x="71" y="1047"/>
                    </a:lnTo>
                    <a:lnTo>
                      <a:pt x="73" y="1066"/>
                    </a:lnTo>
                    <a:lnTo>
                      <a:pt x="73" y="1084"/>
                    </a:lnTo>
                    <a:lnTo>
                      <a:pt x="51" y="1111"/>
                    </a:lnTo>
                    <a:lnTo>
                      <a:pt x="21" y="1149"/>
                    </a:lnTo>
                    <a:lnTo>
                      <a:pt x="2" y="1136"/>
                    </a:lnTo>
                    <a:lnTo>
                      <a:pt x="9" y="1105"/>
                    </a:lnTo>
                    <a:lnTo>
                      <a:pt x="39" y="1057"/>
                    </a:lnTo>
                    <a:lnTo>
                      <a:pt x="35" y="1027"/>
                    </a:lnTo>
                    <a:lnTo>
                      <a:pt x="21" y="993"/>
                    </a:lnTo>
                    <a:lnTo>
                      <a:pt x="13" y="963"/>
                    </a:lnTo>
                    <a:lnTo>
                      <a:pt x="26" y="937"/>
                    </a:lnTo>
                    <a:lnTo>
                      <a:pt x="39" y="929"/>
                    </a:lnTo>
                    <a:lnTo>
                      <a:pt x="41" y="910"/>
                    </a:lnTo>
                    <a:lnTo>
                      <a:pt x="26" y="873"/>
                    </a:lnTo>
                    <a:lnTo>
                      <a:pt x="9" y="840"/>
                    </a:lnTo>
                    <a:lnTo>
                      <a:pt x="0" y="808"/>
                    </a:lnTo>
                    <a:lnTo>
                      <a:pt x="9" y="769"/>
                    </a:lnTo>
                    <a:lnTo>
                      <a:pt x="39" y="755"/>
                    </a:lnTo>
                    <a:lnTo>
                      <a:pt x="48" y="737"/>
                    </a:lnTo>
                    <a:lnTo>
                      <a:pt x="45" y="712"/>
                    </a:lnTo>
                    <a:lnTo>
                      <a:pt x="39" y="685"/>
                    </a:lnTo>
                    <a:lnTo>
                      <a:pt x="29" y="652"/>
                    </a:lnTo>
                    <a:lnTo>
                      <a:pt x="29" y="625"/>
                    </a:lnTo>
                    <a:lnTo>
                      <a:pt x="41" y="609"/>
                    </a:lnTo>
                    <a:lnTo>
                      <a:pt x="59" y="587"/>
                    </a:lnTo>
                    <a:lnTo>
                      <a:pt x="59" y="574"/>
                    </a:lnTo>
                    <a:lnTo>
                      <a:pt x="45" y="544"/>
                    </a:lnTo>
                    <a:lnTo>
                      <a:pt x="20" y="505"/>
                    </a:lnTo>
                    <a:lnTo>
                      <a:pt x="9" y="476"/>
                    </a:lnTo>
                    <a:lnTo>
                      <a:pt x="9" y="454"/>
                    </a:lnTo>
                    <a:lnTo>
                      <a:pt x="15" y="432"/>
                    </a:lnTo>
                    <a:lnTo>
                      <a:pt x="32" y="414"/>
                    </a:lnTo>
                    <a:lnTo>
                      <a:pt x="48" y="395"/>
                    </a:lnTo>
                    <a:lnTo>
                      <a:pt x="48" y="380"/>
                    </a:lnTo>
                    <a:lnTo>
                      <a:pt x="13" y="310"/>
                    </a:lnTo>
                    <a:lnTo>
                      <a:pt x="7" y="283"/>
                    </a:lnTo>
                    <a:lnTo>
                      <a:pt x="0" y="259"/>
                    </a:lnTo>
                    <a:lnTo>
                      <a:pt x="13" y="238"/>
                    </a:lnTo>
                    <a:lnTo>
                      <a:pt x="29" y="221"/>
                    </a:lnTo>
                    <a:lnTo>
                      <a:pt x="41" y="208"/>
                    </a:lnTo>
                    <a:lnTo>
                      <a:pt x="41" y="196"/>
                    </a:lnTo>
                    <a:lnTo>
                      <a:pt x="29" y="175"/>
                    </a:lnTo>
                    <a:lnTo>
                      <a:pt x="9" y="155"/>
                    </a:lnTo>
                    <a:lnTo>
                      <a:pt x="9" y="134"/>
                    </a:lnTo>
                    <a:lnTo>
                      <a:pt x="21" y="115"/>
                    </a:lnTo>
                    <a:lnTo>
                      <a:pt x="41" y="98"/>
                    </a:lnTo>
                    <a:lnTo>
                      <a:pt x="59" y="90"/>
                    </a:lnTo>
                    <a:lnTo>
                      <a:pt x="67" y="77"/>
                    </a:lnTo>
                    <a:lnTo>
                      <a:pt x="60" y="60"/>
                    </a:lnTo>
                    <a:lnTo>
                      <a:pt x="48" y="41"/>
                    </a:lnTo>
                    <a:lnTo>
                      <a:pt x="41" y="2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" name="Freeform 390"/>
              <p:cNvSpPr>
                <a:spLocks/>
              </p:cNvSpPr>
              <p:nvPr/>
            </p:nvSpPr>
            <p:spPr bwMode="auto">
              <a:xfrm>
                <a:off x="4440" y="1496"/>
                <a:ext cx="26" cy="232"/>
              </a:xfrm>
              <a:custGeom>
                <a:avLst/>
                <a:gdLst>
                  <a:gd name="T0" fmla="*/ 92 w 102"/>
                  <a:gd name="T1" fmla="*/ 25 h 929"/>
                  <a:gd name="T2" fmla="*/ 96 w 102"/>
                  <a:gd name="T3" fmla="*/ 90 h 929"/>
                  <a:gd name="T4" fmla="*/ 53 w 102"/>
                  <a:gd name="T5" fmla="*/ 116 h 929"/>
                  <a:gd name="T6" fmla="*/ 66 w 102"/>
                  <a:gd name="T7" fmla="*/ 187 h 929"/>
                  <a:gd name="T8" fmla="*/ 86 w 102"/>
                  <a:gd name="T9" fmla="*/ 255 h 929"/>
                  <a:gd name="T10" fmla="*/ 59 w 102"/>
                  <a:gd name="T11" fmla="*/ 290 h 929"/>
                  <a:gd name="T12" fmla="*/ 66 w 102"/>
                  <a:gd name="T13" fmla="*/ 348 h 929"/>
                  <a:gd name="T14" fmla="*/ 86 w 102"/>
                  <a:gd name="T15" fmla="*/ 410 h 929"/>
                  <a:gd name="T16" fmla="*/ 72 w 102"/>
                  <a:gd name="T17" fmla="*/ 456 h 929"/>
                  <a:gd name="T18" fmla="*/ 51 w 102"/>
                  <a:gd name="T19" fmla="*/ 497 h 929"/>
                  <a:gd name="T20" fmla="*/ 80 w 102"/>
                  <a:gd name="T21" fmla="*/ 578 h 929"/>
                  <a:gd name="T22" fmla="*/ 86 w 102"/>
                  <a:gd name="T23" fmla="*/ 632 h 929"/>
                  <a:gd name="T24" fmla="*/ 38 w 102"/>
                  <a:gd name="T25" fmla="*/ 671 h 929"/>
                  <a:gd name="T26" fmla="*/ 51 w 102"/>
                  <a:gd name="T27" fmla="*/ 752 h 929"/>
                  <a:gd name="T28" fmla="*/ 64 w 102"/>
                  <a:gd name="T29" fmla="*/ 823 h 929"/>
                  <a:gd name="T30" fmla="*/ 38 w 102"/>
                  <a:gd name="T31" fmla="*/ 864 h 929"/>
                  <a:gd name="T32" fmla="*/ 24 w 102"/>
                  <a:gd name="T33" fmla="*/ 920 h 929"/>
                  <a:gd name="T34" fmla="*/ 11 w 102"/>
                  <a:gd name="T35" fmla="*/ 896 h 929"/>
                  <a:gd name="T36" fmla="*/ 38 w 102"/>
                  <a:gd name="T37" fmla="*/ 831 h 929"/>
                  <a:gd name="T38" fmla="*/ 24 w 102"/>
                  <a:gd name="T39" fmla="*/ 735 h 929"/>
                  <a:gd name="T40" fmla="*/ 18 w 102"/>
                  <a:gd name="T41" fmla="*/ 665 h 929"/>
                  <a:gd name="T42" fmla="*/ 53 w 102"/>
                  <a:gd name="T43" fmla="*/ 617 h 929"/>
                  <a:gd name="T44" fmla="*/ 24 w 102"/>
                  <a:gd name="T45" fmla="*/ 548 h 929"/>
                  <a:gd name="T46" fmla="*/ 18 w 102"/>
                  <a:gd name="T47" fmla="*/ 483 h 929"/>
                  <a:gd name="T48" fmla="*/ 45 w 102"/>
                  <a:gd name="T49" fmla="*/ 432 h 929"/>
                  <a:gd name="T50" fmla="*/ 57 w 102"/>
                  <a:gd name="T51" fmla="*/ 393 h 929"/>
                  <a:gd name="T52" fmla="*/ 32 w 102"/>
                  <a:gd name="T53" fmla="*/ 329 h 929"/>
                  <a:gd name="T54" fmla="*/ 38 w 102"/>
                  <a:gd name="T55" fmla="*/ 275 h 929"/>
                  <a:gd name="T56" fmla="*/ 53 w 102"/>
                  <a:gd name="T57" fmla="*/ 236 h 929"/>
                  <a:gd name="T58" fmla="*/ 34 w 102"/>
                  <a:gd name="T59" fmla="*/ 178 h 929"/>
                  <a:gd name="T60" fmla="*/ 27 w 102"/>
                  <a:gd name="T61" fmla="*/ 114 h 929"/>
                  <a:gd name="T62" fmla="*/ 57 w 102"/>
                  <a:gd name="T63" fmla="*/ 70 h 929"/>
                  <a:gd name="T64" fmla="*/ 59 w 102"/>
                  <a:gd name="T65" fmla="*/ 30 h 929"/>
                  <a:gd name="T66" fmla="*/ 80 w 102"/>
                  <a:gd name="T67" fmla="*/ 0 h 9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2"/>
                  <a:gd name="T103" fmla="*/ 0 h 929"/>
                  <a:gd name="T104" fmla="*/ 102 w 102"/>
                  <a:gd name="T105" fmla="*/ 929 h 9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2" h="929">
                    <a:moveTo>
                      <a:pt x="80" y="0"/>
                    </a:moveTo>
                    <a:lnTo>
                      <a:pt x="92" y="25"/>
                    </a:lnTo>
                    <a:lnTo>
                      <a:pt x="102" y="70"/>
                    </a:lnTo>
                    <a:lnTo>
                      <a:pt x="96" y="90"/>
                    </a:lnTo>
                    <a:lnTo>
                      <a:pt x="70" y="103"/>
                    </a:lnTo>
                    <a:lnTo>
                      <a:pt x="53" y="116"/>
                    </a:lnTo>
                    <a:lnTo>
                      <a:pt x="53" y="152"/>
                    </a:lnTo>
                    <a:lnTo>
                      <a:pt x="66" y="187"/>
                    </a:lnTo>
                    <a:lnTo>
                      <a:pt x="83" y="211"/>
                    </a:lnTo>
                    <a:lnTo>
                      <a:pt x="86" y="255"/>
                    </a:lnTo>
                    <a:lnTo>
                      <a:pt x="77" y="271"/>
                    </a:lnTo>
                    <a:lnTo>
                      <a:pt x="59" y="290"/>
                    </a:lnTo>
                    <a:lnTo>
                      <a:pt x="57" y="320"/>
                    </a:lnTo>
                    <a:lnTo>
                      <a:pt x="66" y="348"/>
                    </a:lnTo>
                    <a:lnTo>
                      <a:pt x="80" y="372"/>
                    </a:lnTo>
                    <a:lnTo>
                      <a:pt x="86" y="410"/>
                    </a:lnTo>
                    <a:lnTo>
                      <a:pt x="86" y="432"/>
                    </a:lnTo>
                    <a:lnTo>
                      <a:pt x="72" y="456"/>
                    </a:lnTo>
                    <a:lnTo>
                      <a:pt x="51" y="477"/>
                    </a:lnTo>
                    <a:lnTo>
                      <a:pt x="51" y="497"/>
                    </a:lnTo>
                    <a:lnTo>
                      <a:pt x="57" y="554"/>
                    </a:lnTo>
                    <a:lnTo>
                      <a:pt x="80" y="578"/>
                    </a:lnTo>
                    <a:lnTo>
                      <a:pt x="92" y="603"/>
                    </a:lnTo>
                    <a:lnTo>
                      <a:pt x="86" y="632"/>
                    </a:lnTo>
                    <a:lnTo>
                      <a:pt x="53" y="651"/>
                    </a:lnTo>
                    <a:lnTo>
                      <a:pt x="38" y="671"/>
                    </a:lnTo>
                    <a:lnTo>
                      <a:pt x="34" y="707"/>
                    </a:lnTo>
                    <a:lnTo>
                      <a:pt x="51" y="752"/>
                    </a:lnTo>
                    <a:lnTo>
                      <a:pt x="64" y="798"/>
                    </a:lnTo>
                    <a:lnTo>
                      <a:pt x="64" y="823"/>
                    </a:lnTo>
                    <a:lnTo>
                      <a:pt x="57" y="858"/>
                    </a:lnTo>
                    <a:lnTo>
                      <a:pt x="38" y="864"/>
                    </a:lnTo>
                    <a:lnTo>
                      <a:pt x="24" y="890"/>
                    </a:lnTo>
                    <a:lnTo>
                      <a:pt x="24" y="920"/>
                    </a:lnTo>
                    <a:lnTo>
                      <a:pt x="0" y="929"/>
                    </a:lnTo>
                    <a:lnTo>
                      <a:pt x="11" y="896"/>
                    </a:lnTo>
                    <a:lnTo>
                      <a:pt x="32" y="858"/>
                    </a:lnTo>
                    <a:lnTo>
                      <a:pt x="38" y="831"/>
                    </a:lnTo>
                    <a:lnTo>
                      <a:pt x="38" y="780"/>
                    </a:lnTo>
                    <a:lnTo>
                      <a:pt x="24" y="735"/>
                    </a:lnTo>
                    <a:lnTo>
                      <a:pt x="21" y="701"/>
                    </a:lnTo>
                    <a:lnTo>
                      <a:pt x="18" y="665"/>
                    </a:lnTo>
                    <a:lnTo>
                      <a:pt x="40" y="636"/>
                    </a:lnTo>
                    <a:lnTo>
                      <a:pt x="53" y="617"/>
                    </a:lnTo>
                    <a:lnTo>
                      <a:pt x="45" y="578"/>
                    </a:lnTo>
                    <a:lnTo>
                      <a:pt x="24" y="548"/>
                    </a:lnTo>
                    <a:lnTo>
                      <a:pt x="21" y="522"/>
                    </a:lnTo>
                    <a:lnTo>
                      <a:pt x="18" y="483"/>
                    </a:lnTo>
                    <a:lnTo>
                      <a:pt x="27" y="458"/>
                    </a:lnTo>
                    <a:lnTo>
                      <a:pt x="45" y="432"/>
                    </a:lnTo>
                    <a:lnTo>
                      <a:pt x="57" y="413"/>
                    </a:lnTo>
                    <a:lnTo>
                      <a:pt x="57" y="393"/>
                    </a:lnTo>
                    <a:lnTo>
                      <a:pt x="45" y="372"/>
                    </a:lnTo>
                    <a:lnTo>
                      <a:pt x="32" y="329"/>
                    </a:lnTo>
                    <a:lnTo>
                      <a:pt x="32" y="301"/>
                    </a:lnTo>
                    <a:lnTo>
                      <a:pt x="38" y="275"/>
                    </a:lnTo>
                    <a:lnTo>
                      <a:pt x="51" y="255"/>
                    </a:lnTo>
                    <a:lnTo>
                      <a:pt x="53" y="236"/>
                    </a:lnTo>
                    <a:lnTo>
                      <a:pt x="51" y="212"/>
                    </a:lnTo>
                    <a:lnTo>
                      <a:pt x="34" y="178"/>
                    </a:lnTo>
                    <a:lnTo>
                      <a:pt x="24" y="154"/>
                    </a:lnTo>
                    <a:lnTo>
                      <a:pt x="27" y="114"/>
                    </a:lnTo>
                    <a:lnTo>
                      <a:pt x="40" y="97"/>
                    </a:lnTo>
                    <a:lnTo>
                      <a:pt x="57" y="70"/>
                    </a:lnTo>
                    <a:lnTo>
                      <a:pt x="66" y="49"/>
                    </a:lnTo>
                    <a:lnTo>
                      <a:pt x="59" y="30"/>
                    </a:lnTo>
                    <a:lnTo>
                      <a:pt x="64" y="10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" name="Freeform 391"/>
              <p:cNvSpPr>
                <a:spLocks/>
              </p:cNvSpPr>
              <p:nvPr/>
            </p:nvSpPr>
            <p:spPr bwMode="auto">
              <a:xfrm>
                <a:off x="4400" y="1467"/>
                <a:ext cx="58" cy="51"/>
              </a:xfrm>
              <a:custGeom>
                <a:avLst/>
                <a:gdLst>
                  <a:gd name="T0" fmla="*/ 233 w 233"/>
                  <a:gd name="T1" fmla="*/ 162 h 200"/>
                  <a:gd name="T2" fmla="*/ 163 w 233"/>
                  <a:gd name="T3" fmla="*/ 104 h 200"/>
                  <a:gd name="T4" fmla="*/ 104 w 233"/>
                  <a:gd name="T5" fmla="*/ 51 h 200"/>
                  <a:gd name="T6" fmla="*/ 50 w 233"/>
                  <a:gd name="T7" fmla="*/ 0 h 200"/>
                  <a:gd name="T8" fmla="*/ 0 w 233"/>
                  <a:gd name="T9" fmla="*/ 0 h 200"/>
                  <a:gd name="T10" fmla="*/ 117 w 233"/>
                  <a:gd name="T11" fmla="*/ 84 h 200"/>
                  <a:gd name="T12" fmla="*/ 173 w 233"/>
                  <a:gd name="T13" fmla="*/ 137 h 200"/>
                  <a:gd name="T14" fmla="*/ 220 w 233"/>
                  <a:gd name="T15" fmla="*/ 200 h 200"/>
                  <a:gd name="T16" fmla="*/ 233 w 233"/>
                  <a:gd name="T17" fmla="*/ 162 h 2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3"/>
                  <a:gd name="T28" fmla="*/ 0 h 200"/>
                  <a:gd name="T29" fmla="*/ 233 w 233"/>
                  <a:gd name="T30" fmla="*/ 200 h 2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3" h="200">
                    <a:moveTo>
                      <a:pt x="233" y="162"/>
                    </a:moveTo>
                    <a:lnTo>
                      <a:pt x="163" y="104"/>
                    </a:lnTo>
                    <a:lnTo>
                      <a:pt x="104" y="51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117" y="84"/>
                    </a:lnTo>
                    <a:lnTo>
                      <a:pt x="173" y="137"/>
                    </a:lnTo>
                    <a:lnTo>
                      <a:pt x="220" y="200"/>
                    </a:lnTo>
                    <a:lnTo>
                      <a:pt x="233" y="1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1" name="Freeform 392"/>
              <p:cNvSpPr>
                <a:spLocks/>
              </p:cNvSpPr>
              <p:nvPr/>
            </p:nvSpPr>
            <p:spPr bwMode="auto">
              <a:xfrm>
                <a:off x="4400" y="1497"/>
                <a:ext cx="50" cy="40"/>
              </a:xfrm>
              <a:custGeom>
                <a:avLst/>
                <a:gdLst>
                  <a:gd name="T0" fmla="*/ 201 w 201"/>
                  <a:gd name="T1" fmla="*/ 103 h 163"/>
                  <a:gd name="T2" fmla="*/ 149 w 201"/>
                  <a:gd name="T3" fmla="*/ 84 h 163"/>
                  <a:gd name="T4" fmla="*/ 111 w 201"/>
                  <a:gd name="T5" fmla="*/ 52 h 163"/>
                  <a:gd name="T6" fmla="*/ 40 w 201"/>
                  <a:gd name="T7" fmla="*/ 0 h 163"/>
                  <a:gd name="T8" fmla="*/ 0 w 201"/>
                  <a:gd name="T9" fmla="*/ 0 h 163"/>
                  <a:gd name="T10" fmla="*/ 91 w 201"/>
                  <a:gd name="T11" fmla="*/ 52 h 163"/>
                  <a:gd name="T12" fmla="*/ 126 w 201"/>
                  <a:gd name="T13" fmla="*/ 87 h 163"/>
                  <a:gd name="T14" fmla="*/ 201 w 201"/>
                  <a:gd name="T15" fmla="*/ 163 h 163"/>
                  <a:gd name="T16" fmla="*/ 197 w 201"/>
                  <a:gd name="T17" fmla="*/ 117 h 163"/>
                  <a:gd name="T18" fmla="*/ 201 w 201"/>
                  <a:gd name="T19" fmla="*/ 103 h 1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1"/>
                  <a:gd name="T31" fmla="*/ 0 h 163"/>
                  <a:gd name="T32" fmla="*/ 201 w 201"/>
                  <a:gd name="T33" fmla="*/ 163 h 1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1" h="163">
                    <a:moveTo>
                      <a:pt x="201" y="103"/>
                    </a:moveTo>
                    <a:lnTo>
                      <a:pt x="149" y="84"/>
                    </a:lnTo>
                    <a:lnTo>
                      <a:pt x="111" y="5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91" y="52"/>
                    </a:lnTo>
                    <a:lnTo>
                      <a:pt x="126" y="87"/>
                    </a:lnTo>
                    <a:lnTo>
                      <a:pt x="201" y="163"/>
                    </a:lnTo>
                    <a:lnTo>
                      <a:pt x="197" y="117"/>
                    </a:lnTo>
                    <a:lnTo>
                      <a:pt x="201" y="1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2" name="Freeform 393"/>
              <p:cNvSpPr>
                <a:spLocks/>
              </p:cNvSpPr>
              <p:nvPr/>
            </p:nvSpPr>
            <p:spPr bwMode="auto">
              <a:xfrm>
                <a:off x="4392" y="1521"/>
                <a:ext cx="59" cy="63"/>
              </a:xfrm>
              <a:custGeom>
                <a:avLst/>
                <a:gdLst>
                  <a:gd name="T0" fmla="*/ 233 w 236"/>
                  <a:gd name="T1" fmla="*/ 189 h 254"/>
                  <a:gd name="T2" fmla="*/ 168 w 236"/>
                  <a:gd name="T3" fmla="*/ 131 h 254"/>
                  <a:gd name="T4" fmla="*/ 143 w 236"/>
                  <a:gd name="T5" fmla="*/ 92 h 254"/>
                  <a:gd name="T6" fmla="*/ 91 w 236"/>
                  <a:gd name="T7" fmla="*/ 53 h 254"/>
                  <a:gd name="T8" fmla="*/ 46 w 236"/>
                  <a:gd name="T9" fmla="*/ 20 h 254"/>
                  <a:gd name="T10" fmla="*/ 13 w 236"/>
                  <a:gd name="T11" fmla="*/ 0 h 254"/>
                  <a:gd name="T12" fmla="*/ 0 w 236"/>
                  <a:gd name="T13" fmla="*/ 0 h 254"/>
                  <a:gd name="T14" fmla="*/ 0 w 236"/>
                  <a:gd name="T15" fmla="*/ 20 h 254"/>
                  <a:gd name="T16" fmla="*/ 40 w 236"/>
                  <a:gd name="T17" fmla="*/ 45 h 254"/>
                  <a:gd name="T18" fmla="*/ 110 w 236"/>
                  <a:gd name="T19" fmla="*/ 90 h 254"/>
                  <a:gd name="T20" fmla="*/ 162 w 236"/>
                  <a:gd name="T21" fmla="*/ 142 h 254"/>
                  <a:gd name="T22" fmla="*/ 198 w 236"/>
                  <a:gd name="T23" fmla="*/ 200 h 254"/>
                  <a:gd name="T24" fmla="*/ 236 w 236"/>
                  <a:gd name="T25" fmla="*/ 254 h 254"/>
                  <a:gd name="T26" fmla="*/ 233 w 236"/>
                  <a:gd name="T27" fmla="*/ 189 h 2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6"/>
                  <a:gd name="T43" fmla="*/ 0 h 254"/>
                  <a:gd name="T44" fmla="*/ 236 w 236"/>
                  <a:gd name="T45" fmla="*/ 254 h 25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6" h="254">
                    <a:moveTo>
                      <a:pt x="233" y="189"/>
                    </a:moveTo>
                    <a:lnTo>
                      <a:pt x="168" y="131"/>
                    </a:lnTo>
                    <a:lnTo>
                      <a:pt x="143" y="92"/>
                    </a:lnTo>
                    <a:lnTo>
                      <a:pt x="91" y="53"/>
                    </a:lnTo>
                    <a:lnTo>
                      <a:pt x="46" y="20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40" y="45"/>
                    </a:lnTo>
                    <a:lnTo>
                      <a:pt x="110" y="90"/>
                    </a:lnTo>
                    <a:lnTo>
                      <a:pt x="162" y="142"/>
                    </a:lnTo>
                    <a:lnTo>
                      <a:pt x="198" y="200"/>
                    </a:lnTo>
                    <a:lnTo>
                      <a:pt x="236" y="254"/>
                    </a:lnTo>
                    <a:lnTo>
                      <a:pt x="233" y="18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3" name="Freeform 394"/>
              <p:cNvSpPr>
                <a:spLocks/>
              </p:cNvSpPr>
              <p:nvPr/>
            </p:nvSpPr>
            <p:spPr bwMode="auto">
              <a:xfrm>
                <a:off x="4398" y="1573"/>
                <a:ext cx="46" cy="37"/>
              </a:xfrm>
              <a:custGeom>
                <a:avLst/>
                <a:gdLst>
                  <a:gd name="T0" fmla="*/ 183 w 183"/>
                  <a:gd name="T1" fmla="*/ 123 h 149"/>
                  <a:gd name="T2" fmla="*/ 131 w 183"/>
                  <a:gd name="T3" fmla="*/ 67 h 149"/>
                  <a:gd name="T4" fmla="*/ 77 w 183"/>
                  <a:gd name="T5" fmla="*/ 33 h 149"/>
                  <a:gd name="T6" fmla="*/ 33 w 183"/>
                  <a:gd name="T7" fmla="*/ 9 h 149"/>
                  <a:gd name="T8" fmla="*/ 0 w 183"/>
                  <a:gd name="T9" fmla="*/ 0 h 149"/>
                  <a:gd name="T10" fmla="*/ 20 w 183"/>
                  <a:gd name="T11" fmla="*/ 33 h 149"/>
                  <a:gd name="T12" fmla="*/ 77 w 183"/>
                  <a:gd name="T13" fmla="*/ 65 h 149"/>
                  <a:gd name="T14" fmla="*/ 123 w 183"/>
                  <a:gd name="T15" fmla="*/ 112 h 149"/>
                  <a:gd name="T16" fmla="*/ 144 w 183"/>
                  <a:gd name="T17" fmla="*/ 143 h 149"/>
                  <a:gd name="T18" fmla="*/ 164 w 183"/>
                  <a:gd name="T19" fmla="*/ 149 h 149"/>
                  <a:gd name="T20" fmla="*/ 180 w 183"/>
                  <a:gd name="T21" fmla="*/ 138 h 149"/>
                  <a:gd name="T22" fmla="*/ 183 w 183"/>
                  <a:gd name="T23" fmla="*/ 123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3"/>
                  <a:gd name="T37" fmla="*/ 0 h 149"/>
                  <a:gd name="T38" fmla="*/ 183 w 183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3" h="149">
                    <a:moveTo>
                      <a:pt x="183" y="123"/>
                    </a:moveTo>
                    <a:lnTo>
                      <a:pt x="131" y="67"/>
                    </a:lnTo>
                    <a:lnTo>
                      <a:pt x="77" y="33"/>
                    </a:lnTo>
                    <a:lnTo>
                      <a:pt x="33" y="9"/>
                    </a:lnTo>
                    <a:lnTo>
                      <a:pt x="0" y="0"/>
                    </a:lnTo>
                    <a:lnTo>
                      <a:pt x="20" y="33"/>
                    </a:lnTo>
                    <a:lnTo>
                      <a:pt x="77" y="65"/>
                    </a:lnTo>
                    <a:lnTo>
                      <a:pt x="123" y="112"/>
                    </a:lnTo>
                    <a:lnTo>
                      <a:pt x="144" y="143"/>
                    </a:lnTo>
                    <a:lnTo>
                      <a:pt x="164" y="149"/>
                    </a:lnTo>
                    <a:lnTo>
                      <a:pt x="180" y="138"/>
                    </a:lnTo>
                    <a:lnTo>
                      <a:pt x="183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" name="Freeform 395"/>
              <p:cNvSpPr>
                <a:spLocks/>
              </p:cNvSpPr>
              <p:nvPr/>
            </p:nvSpPr>
            <p:spPr bwMode="auto">
              <a:xfrm>
                <a:off x="4393" y="1599"/>
                <a:ext cx="50" cy="46"/>
              </a:xfrm>
              <a:custGeom>
                <a:avLst/>
                <a:gdLst>
                  <a:gd name="T0" fmla="*/ 202 w 202"/>
                  <a:gd name="T1" fmla="*/ 171 h 184"/>
                  <a:gd name="T2" fmla="*/ 151 w 202"/>
                  <a:gd name="T3" fmla="*/ 116 h 184"/>
                  <a:gd name="T4" fmla="*/ 86 w 202"/>
                  <a:gd name="T5" fmla="*/ 49 h 184"/>
                  <a:gd name="T6" fmla="*/ 47 w 202"/>
                  <a:gd name="T7" fmla="*/ 16 h 184"/>
                  <a:gd name="T8" fmla="*/ 17 w 202"/>
                  <a:gd name="T9" fmla="*/ 0 h 184"/>
                  <a:gd name="T10" fmla="*/ 0 w 202"/>
                  <a:gd name="T11" fmla="*/ 10 h 184"/>
                  <a:gd name="T12" fmla="*/ 35 w 202"/>
                  <a:gd name="T13" fmla="*/ 38 h 184"/>
                  <a:gd name="T14" fmla="*/ 93 w 202"/>
                  <a:gd name="T15" fmla="*/ 97 h 184"/>
                  <a:gd name="T16" fmla="*/ 147 w 202"/>
                  <a:gd name="T17" fmla="*/ 154 h 184"/>
                  <a:gd name="T18" fmla="*/ 183 w 202"/>
                  <a:gd name="T19" fmla="*/ 184 h 184"/>
                  <a:gd name="T20" fmla="*/ 191 w 202"/>
                  <a:gd name="T21" fmla="*/ 184 h 184"/>
                  <a:gd name="T22" fmla="*/ 202 w 202"/>
                  <a:gd name="T23" fmla="*/ 171 h 1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2"/>
                  <a:gd name="T37" fmla="*/ 0 h 184"/>
                  <a:gd name="T38" fmla="*/ 202 w 202"/>
                  <a:gd name="T39" fmla="*/ 184 h 18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2" h="184">
                    <a:moveTo>
                      <a:pt x="202" y="171"/>
                    </a:moveTo>
                    <a:lnTo>
                      <a:pt x="151" y="116"/>
                    </a:lnTo>
                    <a:lnTo>
                      <a:pt x="86" y="49"/>
                    </a:lnTo>
                    <a:lnTo>
                      <a:pt x="47" y="16"/>
                    </a:lnTo>
                    <a:lnTo>
                      <a:pt x="17" y="0"/>
                    </a:lnTo>
                    <a:lnTo>
                      <a:pt x="0" y="10"/>
                    </a:lnTo>
                    <a:lnTo>
                      <a:pt x="35" y="38"/>
                    </a:lnTo>
                    <a:lnTo>
                      <a:pt x="93" y="97"/>
                    </a:lnTo>
                    <a:lnTo>
                      <a:pt x="147" y="154"/>
                    </a:lnTo>
                    <a:lnTo>
                      <a:pt x="183" y="184"/>
                    </a:lnTo>
                    <a:lnTo>
                      <a:pt x="191" y="184"/>
                    </a:lnTo>
                    <a:lnTo>
                      <a:pt x="202" y="17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5" name="Freeform 396"/>
              <p:cNvSpPr>
                <a:spLocks/>
              </p:cNvSpPr>
              <p:nvPr/>
            </p:nvSpPr>
            <p:spPr bwMode="auto">
              <a:xfrm>
                <a:off x="4399" y="1638"/>
                <a:ext cx="35" cy="36"/>
              </a:xfrm>
              <a:custGeom>
                <a:avLst/>
                <a:gdLst>
                  <a:gd name="T0" fmla="*/ 140 w 142"/>
                  <a:gd name="T1" fmla="*/ 123 h 147"/>
                  <a:gd name="T2" fmla="*/ 82 w 142"/>
                  <a:gd name="T3" fmla="*/ 38 h 147"/>
                  <a:gd name="T4" fmla="*/ 26 w 142"/>
                  <a:gd name="T5" fmla="*/ 5 h 147"/>
                  <a:gd name="T6" fmla="*/ 0 w 142"/>
                  <a:gd name="T7" fmla="*/ 0 h 147"/>
                  <a:gd name="T8" fmla="*/ 6 w 142"/>
                  <a:gd name="T9" fmla="*/ 17 h 147"/>
                  <a:gd name="T10" fmla="*/ 71 w 142"/>
                  <a:gd name="T11" fmla="*/ 65 h 147"/>
                  <a:gd name="T12" fmla="*/ 134 w 142"/>
                  <a:gd name="T13" fmla="*/ 141 h 147"/>
                  <a:gd name="T14" fmla="*/ 142 w 142"/>
                  <a:gd name="T15" fmla="*/ 147 h 147"/>
                  <a:gd name="T16" fmla="*/ 140 w 142"/>
                  <a:gd name="T17" fmla="*/ 123 h 1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2"/>
                  <a:gd name="T28" fmla="*/ 0 h 147"/>
                  <a:gd name="T29" fmla="*/ 142 w 142"/>
                  <a:gd name="T30" fmla="*/ 147 h 1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2" h="147">
                    <a:moveTo>
                      <a:pt x="140" y="123"/>
                    </a:moveTo>
                    <a:lnTo>
                      <a:pt x="82" y="38"/>
                    </a:lnTo>
                    <a:lnTo>
                      <a:pt x="26" y="5"/>
                    </a:lnTo>
                    <a:lnTo>
                      <a:pt x="0" y="0"/>
                    </a:lnTo>
                    <a:lnTo>
                      <a:pt x="6" y="17"/>
                    </a:lnTo>
                    <a:lnTo>
                      <a:pt x="71" y="65"/>
                    </a:lnTo>
                    <a:lnTo>
                      <a:pt x="134" y="141"/>
                    </a:lnTo>
                    <a:lnTo>
                      <a:pt x="142" y="147"/>
                    </a:lnTo>
                    <a:lnTo>
                      <a:pt x="140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" name="Freeform 397"/>
              <p:cNvSpPr>
                <a:spLocks/>
              </p:cNvSpPr>
              <p:nvPr/>
            </p:nvSpPr>
            <p:spPr bwMode="auto">
              <a:xfrm>
                <a:off x="4400" y="1673"/>
                <a:ext cx="24" cy="28"/>
              </a:xfrm>
              <a:custGeom>
                <a:avLst/>
                <a:gdLst>
                  <a:gd name="T0" fmla="*/ 94 w 97"/>
                  <a:gd name="T1" fmla="*/ 84 h 111"/>
                  <a:gd name="T2" fmla="*/ 46 w 97"/>
                  <a:gd name="T3" fmla="*/ 19 h 111"/>
                  <a:gd name="T4" fmla="*/ 2 w 97"/>
                  <a:gd name="T5" fmla="*/ 0 h 111"/>
                  <a:gd name="T6" fmla="*/ 0 w 97"/>
                  <a:gd name="T7" fmla="*/ 19 h 111"/>
                  <a:gd name="T8" fmla="*/ 21 w 97"/>
                  <a:gd name="T9" fmla="*/ 52 h 111"/>
                  <a:gd name="T10" fmla="*/ 72 w 97"/>
                  <a:gd name="T11" fmla="*/ 95 h 111"/>
                  <a:gd name="T12" fmla="*/ 87 w 97"/>
                  <a:gd name="T13" fmla="*/ 111 h 111"/>
                  <a:gd name="T14" fmla="*/ 97 w 97"/>
                  <a:gd name="T15" fmla="*/ 103 h 111"/>
                  <a:gd name="T16" fmla="*/ 94 w 97"/>
                  <a:gd name="T17" fmla="*/ 84 h 1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7"/>
                  <a:gd name="T28" fmla="*/ 0 h 111"/>
                  <a:gd name="T29" fmla="*/ 97 w 97"/>
                  <a:gd name="T30" fmla="*/ 111 h 1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7" h="111">
                    <a:moveTo>
                      <a:pt x="94" y="84"/>
                    </a:moveTo>
                    <a:lnTo>
                      <a:pt x="46" y="19"/>
                    </a:lnTo>
                    <a:lnTo>
                      <a:pt x="2" y="0"/>
                    </a:lnTo>
                    <a:lnTo>
                      <a:pt x="0" y="19"/>
                    </a:lnTo>
                    <a:lnTo>
                      <a:pt x="21" y="52"/>
                    </a:lnTo>
                    <a:lnTo>
                      <a:pt x="72" y="95"/>
                    </a:lnTo>
                    <a:lnTo>
                      <a:pt x="87" y="111"/>
                    </a:lnTo>
                    <a:lnTo>
                      <a:pt x="97" y="103"/>
                    </a:lnTo>
                    <a:lnTo>
                      <a:pt x="94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7" name="Freeform 398"/>
              <p:cNvSpPr>
                <a:spLocks/>
              </p:cNvSpPr>
              <p:nvPr/>
            </p:nvSpPr>
            <p:spPr bwMode="auto">
              <a:xfrm>
                <a:off x="4402" y="1710"/>
                <a:ext cx="30" cy="31"/>
              </a:xfrm>
              <a:custGeom>
                <a:avLst/>
                <a:gdLst>
                  <a:gd name="T0" fmla="*/ 122 w 122"/>
                  <a:gd name="T1" fmla="*/ 124 h 124"/>
                  <a:gd name="T2" fmla="*/ 105 w 122"/>
                  <a:gd name="T3" fmla="*/ 105 h 124"/>
                  <a:gd name="T4" fmla="*/ 70 w 122"/>
                  <a:gd name="T5" fmla="*/ 54 h 124"/>
                  <a:gd name="T6" fmla="*/ 21 w 122"/>
                  <a:gd name="T7" fmla="*/ 0 h 124"/>
                  <a:gd name="T8" fmla="*/ 0 w 122"/>
                  <a:gd name="T9" fmla="*/ 0 h 124"/>
                  <a:gd name="T10" fmla="*/ 8 w 122"/>
                  <a:gd name="T11" fmla="*/ 19 h 124"/>
                  <a:gd name="T12" fmla="*/ 46 w 122"/>
                  <a:gd name="T13" fmla="*/ 70 h 124"/>
                  <a:gd name="T14" fmla="*/ 85 w 122"/>
                  <a:gd name="T15" fmla="*/ 122 h 124"/>
                  <a:gd name="T16" fmla="*/ 122 w 122"/>
                  <a:gd name="T17" fmla="*/ 124 h 1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2"/>
                  <a:gd name="T28" fmla="*/ 0 h 124"/>
                  <a:gd name="T29" fmla="*/ 122 w 122"/>
                  <a:gd name="T30" fmla="*/ 124 h 1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2" h="124">
                    <a:moveTo>
                      <a:pt x="122" y="124"/>
                    </a:moveTo>
                    <a:lnTo>
                      <a:pt x="105" y="105"/>
                    </a:lnTo>
                    <a:lnTo>
                      <a:pt x="70" y="54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8" y="19"/>
                    </a:lnTo>
                    <a:lnTo>
                      <a:pt x="46" y="70"/>
                    </a:lnTo>
                    <a:lnTo>
                      <a:pt x="85" y="122"/>
                    </a:lnTo>
                    <a:lnTo>
                      <a:pt x="122" y="1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8" name="Freeform 399"/>
              <p:cNvSpPr>
                <a:spLocks/>
              </p:cNvSpPr>
              <p:nvPr/>
            </p:nvSpPr>
            <p:spPr bwMode="auto">
              <a:xfrm>
                <a:off x="4443" y="1450"/>
                <a:ext cx="94" cy="347"/>
              </a:xfrm>
              <a:custGeom>
                <a:avLst/>
                <a:gdLst>
                  <a:gd name="T0" fmla="*/ 54 w 375"/>
                  <a:gd name="T1" fmla="*/ 170 h 1390"/>
                  <a:gd name="T2" fmla="*/ 67 w 375"/>
                  <a:gd name="T3" fmla="*/ 247 h 1390"/>
                  <a:gd name="T4" fmla="*/ 35 w 375"/>
                  <a:gd name="T5" fmla="*/ 299 h 1390"/>
                  <a:gd name="T6" fmla="*/ 39 w 375"/>
                  <a:gd name="T7" fmla="*/ 370 h 1390"/>
                  <a:gd name="T8" fmla="*/ 58 w 375"/>
                  <a:gd name="T9" fmla="*/ 428 h 1390"/>
                  <a:gd name="T10" fmla="*/ 28 w 375"/>
                  <a:gd name="T11" fmla="*/ 486 h 1390"/>
                  <a:gd name="T12" fmla="*/ 60 w 375"/>
                  <a:gd name="T13" fmla="*/ 587 h 1390"/>
                  <a:gd name="T14" fmla="*/ 22 w 375"/>
                  <a:gd name="T15" fmla="*/ 671 h 1390"/>
                  <a:gd name="T16" fmla="*/ 41 w 375"/>
                  <a:gd name="T17" fmla="*/ 755 h 1390"/>
                  <a:gd name="T18" fmla="*/ 52 w 375"/>
                  <a:gd name="T19" fmla="*/ 815 h 1390"/>
                  <a:gd name="T20" fmla="*/ 13 w 375"/>
                  <a:gd name="T21" fmla="*/ 867 h 1390"/>
                  <a:gd name="T22" fmla="*/ 35 w 375"/>
                  <a:gd name="T23" fmla="*/ 975 h 1390"/>
                  <a:gd name="T24" fmla="*/ 33 w 375"/>
                  <a:gd name="T25" fmla="*/ 1032 h 1390"/>
                  <a:gd name="T26" fmla="*/ 0 w 375"/>
                  <a:gd name="T27" fmla="*/ 1104 h 1390"/>
                  <a:gd name="T28" fmla="*/ 19 w 375"/>
                  <a:gd name="T29" fmla="*/ 1164 h 1390"/>
                  <a:gd name="T30" fmla="*/ 22 w 375"/>
                  <a:gd name="T31" fmla="*/ 1220 h 1390"/>
                  <a:gd name="T32" fmla="*/ 28 w 375"/>
                  <a:gd name="T33" fmla="*/ 1278 h 1390"/>
                  <a:gd name="T34" fmla="*/ 54 w 375"/>
                  <a:gd name="T35" fmla="*/ 1330 h 1390"/>
                  <a:gd name="T36" fmla="*/ 58 w 375"/>
                  <a:gd name="T37" fmla="*/ 1390 h 1390"/>
                  <a:gd name="T38" fmla="*/ 142 w 375"/>
                  <a:gd name="T39" fmla="*/ 1338 h 1390"/>
                  <a:gd name="T40" fmla="*/ 242 w 375"/>
                  <a:gd name="T41" fmla="*/ 1325 h 1390"/>
                  <a:gd name="T42" fmla="*/ 310 w 375"/>
                  <a:gd name="T43" fmla="*/ 1298 h 1390"/>
                  <a:gd name="T44" fmla="*/ 332 w 375"/>
                  <a:gd name="T45" fmla="*/ 1259 h 1390"/>
                  <a:gd name="T46" fmla="*/ 339 w 375"/>
                  <a:gd name="T47" fmla="*/ 1181 h 1390"/>
                  <a:gd name="T48" fmla="*/ 323 w 375"/>
                  <a:gd name="T49" fmla="*/ 1080 h 1390"/>
                  <a:gd name="T50" fmla="*/ 306 w 375"/>
                  <a:gd name="T51" fmla="*/ 1026 h 1390"/>
                  <a:gd name="T52" fmla="*/ 317 w 375"/>
                  <a:gd name="T53" fmla="*/ 961 h 1390"/>
                  <a:gd name="T54" fmla="*/ 286 w 375"/>
                  <a:gd name="T55" fmla="*/ 891 h 1390"/>
                  <a:gd name="T56" fmla="*/ 329 w 375"/>
                  <a:gd name="T57" fmla="*/ 835 h 1390"/>
                  <a:gd name="T58" fmla="*/ 297 w 375"/>
                  <a:gd name="T59" fmla="*/ 755 h 1390"/>
                  <a:gd name="T60" fmla="*/ 280 w 375"/>
                  <a:gd name="T61" fmla="*/ 679 h 1390"/>
                  <a:gd name="T62" fmla="*/ 345 w 375"/>
                  <a:gd name="T63" fmla="*/ 622 h 1390"/>
                  <a:gd name="T64" fmla="*/ 323 w 375"/>
                  <a:gd name="T65" fmla="*/ 581 h 1390"/>
                  <a:gd name="T66" fmla="*/ 323 w 375"/>
                  <a:gd name="T67" fmla="*/ 510 h 1390"/>
                  <a:gd name="T68" fmla="*/ 293 w 375"/>
                  <a:gd name="T69" fmla="*/ 465 h 1390"/>
                  <a:gd name="T70" fmla="*/ 317 w 375"/>
                  <a:gd name="T71" fmla="*/ 409 h 1390"/>
                  <a:gd name="T72" fmla="*/ 297 w 375"/>
                  <a:gd name="T73" fmla="*/ 364 h 1390"/>
                  <a:gd name="T74" fmla="*/ 297 w 375"/>
                  <a:gd name="T75" fmla="*/ 325 h 1390"/>
                  <a:gd name="T76" fmla="*/ 318 w 375"/>
                  <a:gd name="T77" fmla="*/ 290 h 1390"/>
                  <a:gd name="T78" fmla="*/ 291 w 375"/>
                  <a:gd name="T79" fmla="*/ 245 h 1390"/>
                  <a:gd name="T80" fmla="*/ 286 w 375"/>
                  <a:gd name="T81" fmla="*/ 181 h 1390"/>
                  <a:gd name="T82" fmla="*/ 358 w 375"/>
                  <a:gd name="T83" fmla="*/ 98 h 1390"/>
                  <a:gd name="T84" fmla="*/ 375 w 375"/>
                  <a:gd name="T85" fmla="*/ 13 h 1390"/>
                  <a:gd name="T86" fmla="*/ 332 w 375"/>
                  <a:gd name="T87" fmla="*/ 13 h 1390"/>
                  <a:gd name="T88" fmla="*/ 207 w 375"/>
                  <a:gd name="T89" fmla="*/ 79 h 1390"/>
                  <a:gd name="T90" fmla="*/ 104 w 375"/>
                  <a:gd name="T91" fmla="*/ 119 h 139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1390"/>
                  <a:gd name="T140" fmla="*/ 375 w 375"/>
                  <a:gd name="T141" fmla="*/ 1390 h 139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1390">
                    <a:moveTo>
                      <a:pt x="67" y="131"/>
                    </a:moveTo>
                    <a:lnTo>
                      <a:pt x="54" y="170"/>
                    </a:lnTo>
                    <a:lnTo>
                      <a:pt x="65" y="209"/>
                    </a:lnTo>
                    <a:lnTo>
                      <a:pt x="67" y="247"/>
                    </a:lnTo>
                    <a:lnTo>
                      <a:pt x="54" y="271"/>
                    </a:lnTo>
                    <a:lnTo>
                      <a:pt x="35" y="299"/>
                    </a:lnTo>
                    <a:lnTo>
                      <a:pt x="27" y="342"/>
                    </a:lnTo>
                    <a:lnTo>
                      <a:pt x="39" y="370"/>
                    </a:lnTo>
                    <a:lnTo>
                      <a:pt x="58" y="402"/>
                    </a:lnTo>
                    <a:lnTo>
                      <a:pt x="58" y="428"/>
                    </a:lnTo>
                    <a:lnTo>
                      <a:pt x="46" y="454"/>
                    </a:lnTo>
                    <a:lnTo>
                      <a:pt x="28" y="486"/>
                    </a:lnTo>
                    <a:lnTo>
                      <a:pt x="35" y="519"/>
                    </a:lnTo>
                    <a:lnTo>
                      <a:pt x="60" y="587"/>
                    </a:lnTo>
                    <a:lnTo>
                      <a:pt x="58" y="616"/>
                    </a:lnTo>
                    <a:lnTo>
                      <a:pt x="22" y="671"/>
                    </a:lnTo>
                    <a:lnTo>
                      <a:pt x="22" y="719"/>
                    </a:lnTo>
                    <a:lnTo>
                      <a:pt x="41" y="755"/>
                    </a:lnTo>
                    <a:lnTo>
                      <a:pt x="54" y="787"/>
                    </a:lnTo>
                    <a:lnTo>
                      <a:pt x="52" y="815"/>
                    </a:lnTo>
                    <a:lnTo>
                      <a:pt x="19" y="845"/>
                    </a:lnTo>
                    <a:lnTo>
                      <a:pt x="13" y="867"/>
                    </a:lnTo>
                    <a:lnTo>
                      <a:pt x="19" y="918"/>
                    </a:lnTo>
                    <a:lnTo>
                      <a:pt x="35" y="975"/>
                    </a:lnTo>
                    <a:lnTo>
                      <a:pt x="35" y="1007"/>
                    </a:lnTo>
                    <a:lnTo>
                      <a:pt x="33" y="1032"/>
                    </a:lnTo>
                    <a:lnTo>
                      <a:pt x="9" y="1072"/>
                    </a:lnTo>
                    <a:lnTo>
                      <a:pt x="0" y="1104"/>
                    </a:lnTo>
                    <a:lnTo>
                      <a:pt x="3" y="1138"/>
                    </a:lnTo>
                    <a:lnTo>
                      <a:pt x="19" y="1164"/>
                    </a:lnTo>
                    <a:lnTo>
                      <a:pt x="39" y="1187"/>
                    </a:lnTo>
                    <a:lnTo>
                      <a:pt x="22" y="1220"/>
                    </a:lnTo>
                    <a:lnTo>
                      <a:pt x="13" y="1252"/>
                    </a:lnTo>
                    <a:lnTo>
                      <a:pt x="28" y="1278"/>
                    </a:lnTo>
                    <a:lnTo>
                      <a:pt x="52" y="1298"/>
                    </a:lnTo>
                    <a:lnTo>
                      <a:pt x="54" y="1330"/>
                    </a:lnTo>
                    <a:lnTo>
                      <a:pt x="54" y="1355"/>
                    </a:lnTo>
                    <a:lnTo>
                      <a:pt x="58" y="1390"/>
                    </a:lnTo>
                    <a:lnTo>
                      <a:pt x="99" y="1362"/>
                    </a:lnTo>
                    <a:lnTo>
                      <a:pt x="142" y="1338"/>
                    </a:lnTo>
                    <a:lnTo>
                      <a:pt x="182" y="1325"/>
                    </a:lnTo>
                    <a:lnTo>
                      <a:pt x="242" y="1325"/>
                    </a:lnTo>
                    <a:lnTo>
                      <a:pt x="285" y="1319"/>
                    </a:lnTo>
                    <a:lnTo>
                      <a:pt x="310" y="1298"/>
                    </a:lnTo>
                    <a:lnTo>
                      <a:pt x="356" y="1284"/>
                    </a:lnTo>
                    <a:lnTo>
                      <a:pt x="332" y="1259"/>
                    </a:lnTo>
                    <a:lnTo>
                      <a:pt x="323" y="1222"/>
                    </a:lnTo>
                    <a:lnTo>
                      <a:pt x="339" y="1181"/>
                    </a:lnTo>
                    <a:lnTo>
                      <a:pt x="336" y="1124"/>
                    </a:lnTo>
                    <a:lnTo>
                      <a:pt x="323" y="1080"/>
                    </a:lnTo>
                    <a:lnTo>
                      <a:pt x="310" y="1059"/>
                    </a:lnTo>
                    <a:lnTo>
                      <a:pt x="306" y="1026"/>
                    </a:lnTo>
                    <a:lnTo>
                      <a:pt x="323" y="988"/>
                    </a:lnTo>
                    <a:lnTo>
                      <a:pt x="317" y="961"/>
                    </a:lnTo>
                    <a:lnTo>
                      <a:pt x="285" y="917"/>
                    </a:lnTo>
                    <a:lnTo>
                      <a:pt x="286" y="891"/>
                    </a:lnTo>
                    <a:lnTo>
                      <a:pt x="299" y="867"/>
                    </a:lnTo>
                    <a:lnTo>
                      <a:pt x="329" y="835"/>
                    </a:lnTo>
                    <a:lnTo>
                      <a:pt x="318" y="809"/>
                    </a:lnTo>
                    <a:lnTo>
                      <a:pt x="297" y="755"/>
                    </a:lnTo>
                    <a:lnTo>
                      <a:pt x="280" y="719"/>
                    </a:lnTo>
                    <a:lnTo>
                      <a:pt x="280" y="679"/>
                    </a:lnTo>
                    <a:lnTo>
                      <a:pt x="339" y="659"/>
                    </a:lnTo>
                    <a:lnTo>
                      <a:pt x="345" y="622"/>
                    </a:lnTo>
                    <a:lnTo>
                      <a:pt x="339" y="600"/>
                    </a:lnTo>
                    <a:lnTo>
                      <a:pt x="323" y="581"/>
                    </a:lnTo>
                    <a:lnTo>
                      <a:pt x="326" y="549"/>
                    </a:lnTo>
                    <a:lnTo>
                      <a:pt x="323" y="510"/>
                    </a:lnTo>
                    <a:lnTo>
                      <a:pt x="306" y="491"/>
                    </a:lnTo>
                    <a:lnTo>
                      <a:pt x="293" y="465"/>
                    </a:lnTo>
                    <a:lnTo>
                      <a:pt x="304" y="439"/>
                    </a:lnTo>
                    <a:lnTo>
                      <a:pt x="317" y="409"/>
                    </a:lnTo>
                    <a:lnTo>
                      <a:pt x="317" y="389"/>
                    </a:lnTo>
                    <a:lnTo>
                      <a:pt x="297" y="364"/>
                    </a:lnTo>
                    <a:lnTo>
                      <a:pt x="291" y="342"/>
                    </a:lnTo>
                    <a:lnTo>
                      <a:pt x="297" y="325"/>
                    </a:lnTo>
                    <a:lnTo>
                      <a:pt x="317" y="312"/>
                    </a:lnTo>
                    <a:lnTo>
                      <a:pt x="318" y="290"/>
                    </a:lnTo>
                    <a:lnTo>
                      <a:pt x="312" y="277"/>
                    </a:lnTo>
                    <a:lnTo>
                      <a:pt x="291" y="245"/>
                    </a:lnTo>
                    <a:lnTo>
                      <a:pt x="285" y="209"/>
                    </a:lnTo>
                    <a:lnTo>
                      <a:pt x="286" y="181"/>
                    </a:lnTo>
                    <a:lnTo>
                      <a:pt x="306" y="155"/>
                    </a:lnTo>
                    <a:lnTo>
                      <a:pt x="358" y="98"/>
                    </a:lnTo>
                    <a:lnTo>
                      <a:pt x="375" y="52"/>
                    </a:lnTo>
                    <a:lnTo>
                      <a:pt x="375" y="13"/>
                    </a:lnTo>
                    <a:lnTo>
                      <a:pt x="358" y="0"/>
                    </a:lnTo>
                    <a:lnTo>
                      <a:pt x="332" y="13"/>
                    </a:lnTo>
                    <a:lnTo>
                      <a:pt x="267" y="54"/>
                    </a:lnTo>
                    <a:lnTo>
                      <a:pt x="207" y="79"/>
                    </a:lnTo>
                    <a:lnTo>
                      <a:pt x="144" y="106"/>
                    </a:lnTo>
                    <a:lnTo>
                      <a:pt x="104" y="119"/>
                    </a:lnTo>
                    <a:lnTo>
                      <a:pt x="67" y="1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9" name="Freeform 400"/>
              <p:cNvSpPr>
                <a:spLocks/>
              </p:cNvSpPr>
              <p:nvPr/>
            </p:nvSpPr>
            <p:spPr bwMode="auto">
              <a:xfrm>
                <a:off x="4378" y="1447"/>
                <a:ext cx="167" cy="355"/>
              </a:xfrm>
              <a:custGeom>
                <a:avLst/>
                <a:gdLst>
                  <a:gd name="T0" fmla="*/ 438 w 669"/>
                  <a:gd name="T1" fmla="*/ 1335 h 1421"/>
                  <a:gd name="T2" fmla="*/ 309 w 669"/>
                  <a:gd name="T3" fmla="*/ 1381 h 1421"/>
                  <a:gd name="T4" fmla="*/ 54 w 669"/>
                  <a:gd name="T5" fmla="*/ 1150 h 1421"/>
                  <a:gd name="T6" fmla="*/ 41 w 669"/>
                  <a:gd name="T7" fmla="*/ 1189 h 1421"/>
                  <a:gd name="T8" fmla="*/ 317 w 669"/>
                  <a:gd name="T9" fmla="*/ 1421 h 1421"/>
                  <a:gd name="T10" fmla="*/ 451 w 669"/>
                  <a:gd name="T11" fmla="*/ 1351 h 1421"/>
                  <a:gd name="T12" fmla="*/ 633 w 669"/>
                  <a:gd name="T13" fmla="*/ 1291 h 1421"/>
                  <a:gd name="T14" fmla="*/ 625 w 669"/>
                  <a:gd name="T15" fmla="*/ 1189 h 1421"/>
                  <a:gd name="T16" fmla="*/ 588 w 669"/>
                  <a:gd name="T17" fmla="*/ 1077 h 1421"/>
                  <a:gd name="T18" fmla="*/ 606 w 669"/>
                  <a:gd name="T19" fmla="*/ 987 h 1421"/>
                  <a:gd name="T20" fmla="*/ 566 w 669"/>
                  <a:gd name="T21" fmla="*/ 899 h 1421"/>
                  <a:gd name="T22" fmla="*/ 586 w 669"/>
                  <a:gd name="T23" fmla="*/ 796 h 1421"/>
                  <a:gd name="T24" fmla="*/ 601 w 669"/>
                  <a:gd name="T25" fmla="*/ 693 h 1421"/>
                  <a:gd name="T26" fmla="*/ 606 w 669"/>
                  <a:gd name="T27" fmla="*/ 563 h 1421"/>
                  <a:gd name="T28" fmla="*/ 579 w 669"/>
                  <a:gd name="T29" fmla="*/ 454 h 1421"/>
                  <a:gd name="T30" fmla="*/ 566 w 669"/>
                  <a:gd name="T31" fmla="*/ 367 h 1421"/>
                  <a:gd name="T32" fmla="*/ 598 w 669"/>
                  <a:gd name="T33" fmla="*/ 293 h 1421"/>
                  <a:gd name="T34" fmla="*/ 582 w 669"/>
                  <a:gd name="T35" fmla="*/ 168 h 1421"/>
                  <a:gd name="T36" fmla="*/ 663 w 669"/>
                  <a:gd name="T37" fmla="*/ 15 h 1421"/>
                  <a:gd name="T38" fmla="*/ 627 w 669"/>
                  <a:gd name="T39" fmla="*/ 47 h 1421"/>
                  <a:gd name="T40" fmla="*/ 543 w 669"/>
                  <a:gd name="T41" fmla="*/ 187 h 1421"/>
                  <a:gd name="T42" fmla="*/ 421 w 669"/>
                  <a:gd name="T43" fmla="*/ 303 h 1421"/>
                  <a:gd name="T44" fmla="*/ 547 w 669"/>
                  <a:gd name="T45" fmla="*/ 261 h 1421"/>
                  <a:gd name="T46" fmla="*/ 536 w 669"/>
                  <a:gd name="T47" fmla="*/ 342 h 1421"/>
                  <a:gd name="T48" fmla="*/ 476 w 669"/>
                  <a:gd name="T49" fmla="*/ 427 h 1421"/>
                  <a:gd name="T50" fmla="*/ 562 w 669"/>
                  <a:gd name="T51" fmla="*/ 408 h 1421"/>
                  <a:gd name="T52" fmla="*/ 541 w 669"/>
                  <a:gd name="T53" fmla="*/ 473 h 1421"/>
                  <a:gd name="T54" fmla="*/ 535 w 669"/>
                  <a:gd name="T55" fmla="*/ 544 h 1421"/>
                  <a:gd name="T56" fmla="*/ 408 w 669"/>
                  <a:gd name="T57" fmla="*/ 639 h 1421"/>
                  <a:gd name="T58" fmla="*/ 549 w 669"/>
                  <a:gd name="T59" fmla="*/ 574 h 1421"/>
                  <a:gd name="T60" fmla="*/ 601 w 669"/>
                  <a:gd name="T61" fmla="*/ 639 h 1421"/>
                  <a:gd name="T62" fmla="*/ 514 w 669"/>
                  <a:gd name="T63" fmla="*/ 699 h 1421"/>
                  <a:gd name="T64" fmla="*/ 356 w 669"/>
                  <a:gd name="T65" fmla="*/ 777 h 1421"/>
                  <a:gd name="T66" fmla="*/ 536 w 669"/>
                  <a:gd name="T67" fmla="*/ 744 h 1421"/>
                  <a:gd name="T68" fmla="*/ 573 w 669"/>
                  <a:gd name="T69" fmla="*/ 864 h 1421"/>
                  <a:gd name="T70" fmla="*/ 359 w 669"/>
                  <a:gd name="T71" fmla="*/ 922 h 1421"/>
                  <a:gd name="T72" fmla="*/ 476 w 669"/>
                  <a:gd name="T73" fmla="*/ 918 h 1421"/>
                  <a:gd name="T74" fmla="*/ 549 w 669"/>
                  <a:gd name="T75" fmla="*/ 954 h 1421"/>
                  <a:gd name="T76" fmla="*/ 547 w 669"/>
                  <a:gd name="T77" fmla="*/ 1025 h 1421"/>
                  <a:gd name="T78" fmla="*/ 343 w 669"/>
                  <a:gd name="T79" fmla="*/ 1066 h 1421"/>
                  <a:gd name="T80" fmla="*/ 444 w 669"/>
                  <a:gd name="T81" fmla="*/ 1066 h 1421"/>
                  <a:gd name="T82" fmla="*/ 560 w 669"/>
                  <a:gd name="T83" fmla="*/ 1047 h 1421"/>
                  <a:gd name="T84" fmla="*/ 459 w 669"/>
                  <a:gd name="T85" fmla="*/ 1144 h 1421"/>
                  <a:gd name="T86" fmla="*/ 343 w 669"/>
                  <a:gd name="T87" fmla="*/ 1199 h 1421"/>
                  <a:gd name="T88" fmla="*/ 489 w 669"/>
                  <a:gd name="T89" fmla="*/ 1148 h 1421"/>
                  <a:gd name="T90" fmla="*/ 576 w 669"/>
                  <a:gd name="T91" fmla="*/ 1129 h 1421"/>
                  <a:gd name="T92" fmla="*/ 573 w 669"/>
                  <a:gd name="T93" fmla="*/ 1213 h 1421"/>
                  <a:gd name="T94" fmla="*/ 586 w 669"/>
                  <a:gd name="T95" fmla="*/ 1283 h 14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9"/>
                  <a:gd name="T145" fmla="*/ 0 h 1421"/>
                  <a:gd name="T146" fmla="*/ 669 w 669"/>
                  <a:gd name="T147" fmla="*/ 1421 h 14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9" h="1421">
                    <a:moveTo>
                      <a:pt x="568" y="1286"/>
                    </a:moveTo>
                    <a:lnTo>
                      <a:pt x="541" y="1318"/>
                    </a:lnTo>
                    <a:lnTo>
                      <a:pt x="495" y="1329"/>
                    </a:lnTo>
                    <a:lnTo>
                      <a:pt x="438" y="1335"/>
                    </a:lnTo>
                    <a:lnTo>
                      <a:pt x="375" y="1348"/>
                    </a:lnTo>
                    <a:lnTo>
                      <a:pt x="334" y="1373"/>
                    </a:lnTo>
                    <a:lnTo>
                      <a:pt x="321" y="1387"/>
                    </a:lnTo>
                    <a:lnTo>
                      <a:pt x="309" y="1381"/>
                    </a:lnTo>
                    <a:lnTo>
                      <a:pt x="233" y="1324"/>
                    </a:lnTo>
                    <a:lnTo>
                      <a:pt x="136" y="1247"/>
                    </a:lnTo>
                    <a:lnTo>
                      <a:pt x="104" y="1199"/>
                    </a:lnTo>
                    <a:lnTo>
                      <a:pt x="54" y="1150"/>
                    </a:lnTo>
                    <a:lnTo>
                      <a:pt x="40" y="1112"/>
                    </a:lnTo>
                    <a:lnTo>
                      <a:pt x="0" y="1106"/>
                    </a:lnTo>
                    <a:lnTo>
                      <a:pt x="21" y="1148"/>
                    </a:lnTo>
                    <a:lnTo>
                      <a:pt x="41" y="1189"/>
                    </a:lnTo>
                    <a:lnTo>
                      <a:pt x="104" y="1234"/>
                    </a:lnTo>
                    <a:lnTo>
                      <a:pt x="147" y="1291"/>
                    </a:lnTo>
                    <a:lnTo>
                      <a:pt x="253" y="1357"/>
                    </a:lnTo>
                    <a:lnTo>
                      <a:pt x="317" y="1421"/>
                    </a:lnTo>
                    <a:lnTo>
                      <a:pt x="343" y="1415"/>
                    </a:lnTo>
                    <a:lnTo>
                      <a:pt x="369" y="1383"/>
                    </a:lnTo>
                    <a:lnTo>
                      <a:pt x="405" y="1364"/>
                    </a:lnTo>
                    <a:lnTo>
                      <a:pt x="451" y="1351"/>
                    </a:lnTo>
                    <a:lnTo>
                      <a:pt x="547" y="1342"/>
                    </a:lnTo>
                    <a:lnTo>
                      <a:pt x="576" y="1324"/>
                    </a:lnTo>
                    <a:lnTo>
                      <a:pt x="625" y="1312"/>
                    </a:lnTo>
                    <a:lnTo>
                      <a:pt x="633" y="1291"/>
                    </a:lnTo>
                    <a:lnTo>
                      <a:pt x="618" y="1264"/>
                    </a:lnTo>
                    <a:lnTo>
                      <a:pt x="601" y="1239"/>
                    </a:lnTo>
                    <a:lnTo>
                      <a:pt x="612" y="1207"/>
                    </a:lnTo>
                    <a:lnTo>
                      <a:pt x="625" y="1189"/>
                    </a:lnTo>
                    <a:lnTo>
                      <a:pt x="625" y="1161"/>
                    </a:lnTo>
                    <a:lnTo>
                      <a:pt x="612" y="1118"/>
                    </a:lnTo>
                    <a:lnTo>
                      <a:pt x="606" y="1096"/>
                    </a:lnTo>
                    <a:lnTo>
                      <a:pt x="588" y="1077"/>
                    </a:lnTo>
                    <a:lnTo>
                      <a:pt x="579" y="1054"/>
                    </a:lnTo>
                    <a:lnTo>
                      <a:pt x="588" y="1033"/>
                    </a:lnTo>
                    <a:lnTo>
                      <a:pt x="607" y="1014"/>
                    </a:lnTo>
                    <a:lnTo>
                      <a:pt x="606" y="987"/>
                    </a:lnTo>
                    <a:lnTo>
                      <a:pt x="595" y="968"/>
                    </a:lnTo>
                    <a:lnTo>
                      <a:pt x="573" y="938"/>
                    </a:lnTo>
                    <a:lnTo>
                      <a:pt x="560" y="922"/>
                    </a:lnTo>
                    <a:lnTo>
                      <a:pt x="566" y="899"/>
                    </a:lnTo>
                    <a:lnTo>
                      <a:pt x="598" y="880"/>
                    </a:lnTo>
                    <a:lnTo>
                      <a:pt x="612" y="854"/>
                    </a:lnTo>
                    <a:lnTo>
                      <a:pt x="607" y="832"/>
                    </a:lnTo>
                    <a:lnTo>
                      <a:pt x="586" y="796"/>
                    </a:lnTo>
                    <a:lnTo>
                      <a:pt x="562" y="750"/>
                    </a:lnTo>
                    <a:lnTo>
                      <a:pt x="554" y="718"/>
                    </a:lnTo>
                    <a:lnTo>
                      <a:pt x="566" y="705"/>
                    </a:lnTo>
                    <a:lnTo>
                      <a:pt x="601" y="693"/>
                    </a:lnTo>
                    <a:lnTo>
                      <a:pt x="620" y="680"/>
                    </a:lnTo>
                    <a:lnTo>
                      <a:pt x="625" y="639"/>
                    </a:lnTo>
                    <a:lnTo>
                      <a:pt x="601" y="593"/>
                    </a:lnTo>
                    <a:lnTo>
                      <a:pt x="606" y="563"/>
                    </a:lnTo>
                    <a:lnTo>
                      <a:pt x="614" y="536"/>
                    </a:lnTo>
                    <a:lnTo>
                      <a:pt x="592" y="503"/>
                    </a:lnTo>
                    <a:lnTo>
                      <a:pt x="573" y="473"/>
                    </a:lnTo>
                    <a:lnTo>
                      <a:pt x="579" y="454"/>
                    </a:lnTo>
                    <a:lnTo>
                      <a:pt x="592" y="435"/>
                    </a:lnTo>
                    <a:lnTo>
                      <a:pt x="592" y="402"/>
                    </a:lnTo>
                    <a:lnTo>
                      <a:pt x="579" y="383"/>
                    </a:lnTo>
                    <a:lnTo>
                      <a:pt x="566" y="367"/>
                    </a:lnTo>
                    <a:lnTo>
                      <a:pt x="568" y="343"/>
                    </a:lnTo>
                    <a:lnTo>
                      <a:pt x="592" y="331"/>
                    </a:lnTo>
                    <a:lnTo>
                      <a:pt x="606" y="318"/>
                    </a:lnTo>
                    <a:lnTo>
                      <a:pt x="598" y="293"/>
                    </a:lnTo>
                    <a:lnTo>
                      <a:pt x="573" y="261"/>
                    </a:lnTo>
                    <a:lnTo>
                      <a:pt x="562" y="232"/>
                    </a:lnTo>
                    <a:lnTo>
                      <a:pt x="560" y="199"/>
                    </a:lnTo>
                    <a:lnTo>
                      <a:pt x="582" y="168"/>
                    </a:lnTo>
                    <a:lnTo>
                      <a:pt x="627" y="118"/>
                    </a:lnTo>
                    <a:lnTo>
                      <a:pt x="650" y="79"/>
                    </a:lnTo>
                    <a:lnTo>
                      <a:pt x="669" y="47"/>
                    </a:lnTo>
                    <a:lnTo>
                      <a:pt x="663" y="15"/>
                    </a:lnTo>
                    <a:lnTo>
                      <a:pt x="647" y="0"/>
                    </a:lnTo>
                    <a:lnTo>
                      <a:pt x="633" y="3"/>
                    </a:lnTo>
                    <a:lnTo>
                      <a:pt x="612" y="28"/>
                    </a:lnTo>
                    <a:lnTo>
                      <a:pt x="627" y="47"/>
                    </a:lnTo>
                    <a:lnTo>
                      <a:pt x="625" y="79"/>
                    </a:lnTo>
                    <a:lnTo>
                      <a:pt x="595" y="136"/>
                    </a:lnTo>
                    <a:lnTo>
                      <a:pt x="555" y="168"/>
                    </a:lnTo>
                    <a:lnTo>
                      <a:pt x="543" y="187"/>
                    </a:lnTo>
                    <a:lnTo>
                      <a:pt x="535" y="213"/>
                    </a:lnTo>
                    <a:lnTo>
                      <a:pt x="530" y="228"/>
                    </a:lnTo>
                    <a:lnTo>
                      <a:pt x="472" y="273"/>
                    </a:lnTo>
                    <a:lnTo>
                      <a:pt x="421" y="303"/>
                    </a:lnTo>
                    <a:lnTo>
                      <a:pt x="414" y="324"/>
                    </a:lnTo>
                    <a:lnTo>
                      <a:pt x="432" y="329"/>
                    </a:lnTo>
                    <a:lnTo>
                      <a:pt x="508" y="273"/>
                    </a:lnTo>
                    <a:lnTo>
                      <a:pt x="547" y="261"/>
                    </a:lnTo>
                    <a:lnTo>
                      <a:pt x="566" y="297"/>
                    </a:lnTo>
                    <a:lnTo>
                      <a:pt x="573" y="312"/>
                    </a:lnTo>
                    <a:lnTo>
                      <a:pt x="554" y="329"/>
                    </a:lnTo>
                    <a:lnTo>
                      <a:pt x="536" y="342"/>
                    </a:lnTo>
                    <a:lnTo>
                      <a:pt x="535" y="364"/>
                    </a:lnTo>
                    <a:lnTo>
                      <a:pt x="541" y="387"/>
                    </a:lnTo>
                    <a:lnTo>
                      <a:pt x="524" y="406"/>
                    </a:lnTo>
                    <a:lnTo>
                      <a:pt x="476" y="427"/>
                    </a:lnTo>
                    <a:lnTo>
                      <a:pt x="405" y="458"/>
                    </a:lnTo>
                    <a:lnTo>
                      <a:pt x="432" y="467"/>
                    </a:lnTo>
                    <a:lnTo>
                      <a:pt x="504" y="438"/>
                    </a:lnTo>
                    <a:lnTo>
                      <a:pt x="562" y="408"/>
                    </a:lnTo>
                    <a:lnTo>
                      <a:pt x="573" y="415"/>
                    </a:lnTo>
                    <a:lnTo>
                      <a:pt x="566" y="435"/>
                    </a:lnTo>
                    <a:lnTo>
                      <a:pt x="547" y="454"/>
                    </a:lnTo>
                    <a:lnTo>
                      <a:pt x="541" y="473"/>
                    </a:lnTo>
                    <a:lnTo>
                      <a:pt x="549" y="498"/>
                    </a:lnTo>
                    <a:lnTo>
                      <a:pt x="573" y="519"/>
                    </a:lnTo>
                    <a:lnTo>
                      <a:pt x="573" y="536"/>
                    </a:lnTo>
                    <a:lnTo>
                      <a:pt x="535" y="544"/>
                    </a:lnTo>
                    <a:lnTo>
                      <a:pt x="502" y="587"/>
                    </a:lnTo>
                    <a:lnTo>
                      <a:pt x="463" y="612"/>
                    </a:lnTo>
                    <a:lnTo>
                      <a:pt x="411" y="626"/>
                    </a:lnTo>
                    <a:lnTo>
                      <a:pt x="408" y="639"/>
                    </a:lnTo>
                    <a:lnTo>
                      <a:pt x="440" y="634"/>
                    </a:lnTo>
                    <a:lnTo>
                      <a:pt x="508" y="612"/>
                    </a:lnTo>
                    <a:lnTo>
                      <a:pt x="535" y="593"/>
                    </a:lnTo>
                    <a:lnTo>
                      <a:pt x="549" y="574"/>
                    </a:lnTo>
                    <a:lnTo>
                      <a:pt x="573" y="570"/>
                    </a:lnTo>
                    <a:lnTo>
                      <a:pt x="573" y="593"/>
                    </a:lnTo>
                    <a:lnTo>
                      <a:pt x="588" y="615"/>
                    </a:lnTo>
                    <a:lnTo>
                      <a:pt x="601" y="639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5" y="680"/>
                    </a:lnTo>
                    <a:lnTo>
                      <a:pt x="514" y="699"/>
                    </a:lnTo>
                    <a:lnTo>
                      <a:pt x="427" y="725"/>
                    </a:lnTo>
                    <a:lnTo>
                      <a:pt x="362" y="748"/>
                    </a:lnTo>
                    <a:lnTo>
                      <a:pt x="337" y="761"/>
                    </a:lnTo>
                    <a:lnTo>
                      <a:pt x="356" y="777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4" y="723"/>
                    </a:lnTo>
                    <a:lnTo>
                      <a:pt x="536" y="744"/>
                    </a:lnTo>
                    <a:lnTo>
                      <a:pt x="549" y="783"/>
                    </a:lnTo>
                    <a:lnTo>
                      <a:pt x="573" y="815"/>
                    </a:lnTo>
                    <a:lnTo>
                      <a:pt x="576" y="840"/>
                    </a:lnTo>
                    <a:lnTo>
                      <a:pt x="573" y="864"/>
                    </a:lnTo>
                    <a:lnTo>
                      <a:pt x="547" y="873"/>
                    </a:lnTo>
                    <a:lnTo>
                      <a:pt x="502" y="884"/>
                    </a:lnTo>
                    <a:lnTo>
                      <a:pt x="444" y="910"/>
                    </a:lnTo>
                    <a:lnTo>
                      <a:pt x="359" y="922"/>
                    </a:lnTo>
                    <a:lnTo>
                      <a:pt x="328" y="938"/>
                    </a:lnTo>
                    <a:lnTo>
                      <a:pt x="350" y="948"/>
                    </a:lnTo>
                    <a:lnTo>
                      <a:pt x="424" y="938"/>
                    </a:lnTo>
                    <a:lnTo>
                      <a:pt x="476" y="918"/>
                    </a:lnTo>
                    <a:lnTo>
                      <a:pt x="511" y="905"/>
                    </a:lnTo>
                    <a:lnTo>
                      <a:pt x="541" y="899"/>
                    </a:lnTo>
                    <a:lnTo>
                      <a:pt x="536" y="922"/>
                    </a:lnTo>
                    <a:lnTo>
                      <a:pt x="549" y="954"/>
                    </a:lnTo>
                    <a:lnTo>
                      <a:pt x="568" y="974"/>
                    </a:lnTo>
                    <a:lnTo>
                      <a:pt x="573" y="995"/>
                    </a:lnTo>
                    <a:lnTo>
                      <a:pt x="573" y="1014"/>
                    </a:lnTo>
                    <a:lnTo>
                      <a:pt x="547" y="1025"/>
                    </a:lnTo>
                    <a:lnTo>
                      <a:pt x="498" y="1028"/>
                    </a:lnTo>
                    <a:lnTo>
                      <a:pt x="463" y="1039"/>
                    </a:lnTo>
                    <a:lnTo>
                      <a:pt x="386" y="1065"/>
                    </a:lnTo>
                    <a:lnTo>
                      <a:pt x="343" y="1066"/>
                    </a:lnTo>
                    <a:lnTo>
                      <a:pt x="328" y="1085"/>
                    </a:lnTo>
                    <a:lnTo>
                      <a:pt x="347" y="1093"/>
                    </a:lnTo>
                    <a:lnTo>
                      <a:pt x="386" y="1084"/>
                    </a:lnTo>
                    <a:lnTo>
                      <a:pt x="444" y="1066"/>
                    </a:lnTo>
                    <a:lnTo>
                      <a:pt x="476" y="1054"/>
                    </a:lnTo>
                    <a:lnTo>
                      <a:pt x="517" y="1045"/>
                    </a:lnTo>
                    <a:lnTo>
                      <a:pt x="549" y="1047"/>
                    </a:lnTo>
                    <a:lnTo>
                      <a:pt x="560" y="1047"/>
                    </a:lnTo>
                    <a:lnTo>
                      <a:pt x="560" y="1077"/>
                    </a:lnTo>
                    <a:lnTo>
                      <a:pt x="568" y="1093"/>
                    </a:lnTo>
                    <a:lnTo>
                      <a:pt x="511" y="1106"/>
                    </a:lnTo>
                    <a:lnTo>
                      <a:pt x="459" y="1144"/>
                    </a:lnTo>
                    <a:lnTo>
                      <a:pt x="402" y="1163"/>
                    </a:lnTo>
                    <a:lnTo>
                      <a:pt x="362" y="1169"/>
                    </a:lnTo>
                    <a:lnTo>
                      <a:pt x="329" y="1187"/>
                    </a:lnTo>
                    <a:lnTo>
                      <a:pt x="343" y="1199"/>
                    </a:lnTo>
                    <a:lnTo>
                      <a:pt x="375" y="1189"/>
                    </a:lnTo>
                    <a:lnTo>
                      <a:pt x="411" y="1177"/>
                    </a:lnTo>
                    <a:lnTo>
                      <a:pt x="453" y="1169"/>
                    </a:lnTo>
                    <a:lnTo>
                      <a:pt x="489" y="1148"/>
                    </a:lnTo>
                    <a:lnTo>
                      <a:pt x="508" y="1129"/>
                    </a:lnTo>
                    <a:lnTo>
                      <a:pt x="535" y="1125"/>
                    </a:lnTo>
                    <a:lnTo>
                      <a:pt x="566" y="1125"/>
                    </a:lnTo>
                    <a:lnTo>
                      <a:pt x="576" y="1129"/>
                    </a:lnTo>
                    <a:lnTo>
                      <a:pt x="586" y="1150"/>
                    </a:lnTo>
                    <a:lnTo>
                      <a:pt x="592" y="1177"/>
                    </a:lnTo>
                    <a:lnTo>
                      <a:pt x="586" y="1199"/>
                    </a:lnTo>
                    <a:lnTo>
                      <a:pt x="573" y="1213"/>
                    </a:lnTo>
                    <a:lnTo>
                      <a:pt x="562" y="1245"/>
                    </a:lnTo>
                    <a:lnTo>
                      <a:pt x="573" y="1258"/>
                    </a:lnTo>
                    <a:lnTo>
                      <a:pt x="586" y="1271"/>
                    </a:lnTo>
                    <a:lnTo>
                      <a:pt x="586" y="1283"/>
                    </a:lnTo>
                    <a:lnTo>
                      <a:pt x="568" y="128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0" name="Freeform 401"/>
              <p:cNvSpPr>
                <a:spLocks/>
              </p:cNvSpPr>
              <p:nvPr/>
            </p:nvSpPr>
            <p:spPr bwMode="auto">
              <a:xfrm>
                <a:off x="4466" y="1752"/>
                <a:ext cx="49" cy="16"/>
              </a:xfrm>
              <a:custGeom>
                <a:avLst/>
                <a:gdLst>
                  <a:gd name="T0" fmla="*/ 0 w 194"/>
                  <a:gd name="T1" fmla="*/ 50 h 64"/>
                  <a:gd name="T2" fmla="*/ 78 w 194"/>
                  <a:gd name="T3" fmla="*/ 48 h 64"/>
                  <a:gd name="T4" fmla="*/ 108 w 194"/>
                  <a:gd name="T5" fmla="*/ 31 h 64"/>
                  <a:gd name="T6" fmla="*/ 133 w 194"/>
                  <a:gd name="T7" fmla="*/ 12 h 64"/>
                  <a:gd name="T8" fmla="*/ 181 w 194"/>
                  <a:gd name="T9" fmla="*/ 0 h 64"/>
                  <a:gd name="T10" fmla="*/ 194 w 194"/>
                  <a:gd name="T11" fmla="*/ 12 h 64"/>
                  <a:gd name="T12" fmla="*/ 174 w 194"/>
                  <a:gd name="T13" fmla="*/ 18 h 64"/>
                  <a:gd name="T14" fmla="*/ 140 w 194"/>
                  <a:gd name="T15" fmla="*/ 36 h 64"/>
                  <a:gd name="T16" fmla="*/ 122 w 194"/>
                  <a:gd name="T17" fmla="*/ 48 h 64"/>
                  <a:gd name="T18" fmla="*/ 91 w 194"/>
                  <a:gd name="T19" fmla="*/ 56 h 64"/>
                  <a:gd name="T20" fmla="*/ 43 w 194"/>
                  <a:gd name="T21" fmla="*/ 61 h 64"/>
                  <a:gd name="T22" fmla="*/ 4 w 194"/>
                  <a:gd name="T23" fmla="*/ 64 h 64"/>
                  <a:gd name="T24" fmla="*/ 0 w 194"/>
                  <a:gd name="T25" fmla="*/ 50 h 6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4"/>
                  <a:gd name="T40" fmla="*/ 0 h 64"/>
                  <a:gd name="T41" fmla="*/ 194 w 194"/>
                  <a:gd name="T42" fmla="*/ 64 h 6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4" h="64">
                    <a:moveTo>
                      <a:pt x="0" y="50"/>
                    </a:moveTo>
                    <a:lnTo>
                      <a:pt x="78" y="48"/>
                    </a:lnTo>
                    <a:lnTo>
                      <a:pt x="108" y="31"/>
                    </a:lnTo>
                    <a:lnTo>
                      <a:pt x="133" y="12"/>
                    </a:lnTo>
                    <a:lnTo>
                      <a:pt x="181" y="0"/>
                    </a:lnTo>
                    <a:lnTo>
                      <a:pt x="194" y="12"/>
                    </a:lnTo>
                    <a:lnTo>
                      <a:pt x="174" y="18"/>
                    </a:lnTo>
                    <a:lnTo>
                      <a:pt x="140" y="36"/>
                    </a:lnTo>
                    <a:lnTo>
                      <a:pt x="122" y="48"/>
                    </a:lnTo>
                    <a:lnTo>
                      <a:pt x="91" y="56"/>
                    </a:lnTo>
                    <a:lnTo>
                      <a:pt x="43" y="61"/>
                    </a:lnTo>
                    <a:lnTo>
                      <a:pt x="4" y="64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" name="Freeform 402"/>
              <p:cNvSpPr>
                <a:spLocks/>
              </p:cNvSpPr>
              <p:nvPr/>
            </p:nvSpPr>
            <p:spPr bwMode="auto">
              <a:xfrm>
                <a:off x="4392" y="1405"/>
                <a:ext cx="141" cy="76"/>
              </a:xfrm>
              <a:custGeom>
                <a:avLst/>
                <a:gdLst>
                  <a:gd name="T0" fmla="*/ 17 w 562"/>
                  <a:gd name="T1" fmla="*/ 35 h 305"/>
                  <a:gd name="T2" fmla="*/ 84 w 562"/>
                  <a:gd name="T3" fmla="*/ 38 h 305"/>
                  <a:gd name="T4" fmla="*/ 155 w 562"/>
                  <a:gd name="T5" fmla="*/ 41 h 305"/>
                  <a:gd name="T6" fmla="*/ 201 w 562"/>
                  <a:gd name="T7" fmla="*/ 41 h 305"/>
                  <a:gd name="T8" fmla="*/ 237 w 562"/>
                  <a:gd name="T9" fmla="*/ 32 h 305"/>
                  <a:gd name="T10" fmla="*/ 296 w 562"/>
                  <a:gd name="T11" fmla="*/ 15 h 305"/>
                  <a:gd name="T12" fmla="*/ 323 w 562"/>
                  <a:gd name="T13" fmla="*/ 0 h 305"/>
                  <a:gd name="T14" fmla="*/ 362 w 562"/>
                  <a:gd name="T15" fmla="*/ 21 h 305"/>
                  <a:gd name="T16" fmla="*/ 424 w 562"/>
                  <a:gd name="T17" fmla="*/ 65 h 305"/>
                  <a:gd name="T18" fmla="*/ 470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8 h 305"/>
                  <a:gd name="T24" fmla="*/ 530 w 562"/>
                  <a:gd name="T25" fmla="*/ 196 h 305"/>
                  <a:gd name="T26" fmla="*/ 497 w 562"/>
                  <a:gd name="T27" fmla="*/ 226 h 305"/>
                  <a:gd name="T28" fmla="*/ 446 w 562"/>
                  <a:gd name="T29" fmla="*/ 247 h 305"/>
                  <a:gd name="T30" fmla="*/ 392 w 562"/>
                  <a:gd name="T31" fmla="*/ 270 h 305"/>
                  <a:gd name="T32" fmla="*/ 343 w 562"/>
                  <a:gd name="T33" fmla="*/ 289 h 305"/>
                  <a:gd name="T34" fmla="*/ 297 w 562"/>
                  <a:gd name="T35" fmla="*/ 296 h 305"/>
                  <a:gd name="T36" fmla="*/ 250 w 562"/>
                  <a:gd name="T37" fmla="*/ 305 h 305"/>
                  <a:gd name="T38" fmla="*/ 191 w 562"/>
                  <a:gd name="T39" fmla="*/ 264 h 305"/>
                  <a:gd name="T40" fmla="*/ 147 w 562"/>
                  <a:gd name="T41" fmla="*/ 228 h 305"/>
                  <a:gd name="T42" fmla="*/ 95 w 562"/>
                  <a:gd name="T43" fmla="*/ 182 h 305"/>
                  <a:gd name="T44" fmla="*/ 52 w 562"/>
                  <a:gd name="T45" fmla="*/ 137 h 305"/>
                  <a:gd name="T46" fmla="*/ 19 w 562"/>
                  <a:gd name="T47" fmla="*/ 106 h 305"/>
                  <a:gd name="T48" fmla="*/ 0 w 562"/>
                  <a:gd name="T49" fmla="*/ 60 h 305"/>
                  <a:gd name="T50" fmla="*/ 17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7" y="35"/>
                    </a:moveTo>
                    <a:lnTo>
                      <a:pt x="84" y="38"/>
                    </a:lnTo>
                    <a:lnTo>
                      <a:pt x="155" y="41"/>
                    </a:lnTo>
                    <a:lnTo>
                      <a:pt x="201" y="41"/>
                    </a:lnTo>
                    <a:lnTo>
                      <a:pt x="237" y="32"/>
                    </a:lnTo>
                    <a:lnTo>
                      <a:pt x="296" y="15"/>
                    </a:lnTo>
                    <a:lnTo>
                      <a:pt x="323" y="0"/>
                    </a:lnTo>
                    <a:lnTo>
                      <a:pt x="362" y="21"/>
                    </a:lnTo>
                    <a:lnTo>
                      <a:pt x="424" y="65"/>
                    </a:lnTo>
                    <a:lnTo>
                      <a:pt x="470" y="96"/>
                    </a:lnTo>
                    <a:lnTo>
                      <a:pt x="527" y="137"/>
                    </a:lnTo>
                    <a:lnTo>
                      <a:pt x="562" y="168"/>
                    </a:lnTo>
                    <a:lnTo>
                      <a:pt x="530" y="196"/>
                    </a:lnTo>
                    <a:lnTo>
                      <a:pt x="497" y="226"/>
                    </a:lnTo>
                    <a:lnTo>
                      <a:pt x="446" y="247"/>
                    </a:lnTo>
                    <a:lnTo>
                      <a:pt x="392" y="270"/>
                    </a:lnTo>
                    <a:lnTo>
                      <a:pt x="343" y="289"/>
                    </a:lnTo>
                    <a:lnTo>
                      <a:pt x="297" y="296"/>
                    </a:lnTo>
                    <a:lnTo>
                      <a:pt x="250" y="305"/>
                    </a:lnTo>
                    <a:lnTo>
                      <a:pt x="191" y="264"/>
                    </a:lnTo>
                    <a:lnTo>
                      <a:pt x="147" y="228"/>
                    </a:lnTo>
                    <a:lnTo>
                      <a:pt x="95" y="182"/>
                    </a:lnTo>
                    <a:lnTo>
                      <a:pt x="52" y="137"/>
                    </a:lnTo>
                    <a:lnTo>
                      <a:pt x="19" y="106"/>
                    </a:lnTo>
                    <a:lnTo>
                      <a:pt x="0" y="60"/>
                    </a:lnTo>
                    <a:lnTo>
                      <a:pt x="17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2" name="Freeform 403"/>
              <p:cNvSpPr>
                <a:spLocks/>
              </p:cNvSpPr>
              <p:nvPr/>
            </p:nvSpPr>
            <p:spPr bwMode="auto">
              <a:xfrm>
                <a:off x="4389" y="1402"/>
                <a:ext cx="152" cy="89"/>
              </a:xfrm>
              <a:custGeom>
                <a:avLst/>
                <a:gdLst>
                  <a:gd name="T0" fmla="*/ 298 w 608"/>
                  <a:gd name="T1" fmla="*/ 304 h 356"/>
                  <a:gd name="T2" fmla="*/ 394 w 608"/>
                  <a:gd name="T3" fmla="*/ 278 h 356"/>
                  <a:gd name="T4" fmla="*/ 472 w 608"/>
                  <a:gd name="T5" fmla="*/ 244 h 356"/>
                  <a:gd name="T6" fmla="*/ 528 w 608"/>
                  <a:gd name="T7" fmla="*/ 204 h 356"/>
                  <a:gd name="T8" fmla="*/ 550 w 608"/>
                  <a:gd name="T9" fmla="*/ 182 h 356"/>
                  <a:gd name="T10" fmla="*/ 469 w 608"/>
                  <a:gd name="T11" fmla="*/ 108 h 356"/>
                  <a:gd name="T12" fmla="*/ 405 w 608"/>
                  <a:gd name="T13" fmla="*/ 69 h 356"/>
                  <a:gd name="T14" fmla="*/ 342 w 608"/>
                  <a:gd name="T15" fmla="*/ 30 h 356"/>
                  <a:gd name="T16" fmla="*/ 330 w 608"/>
                  <a:gd name="T17" fmla="*/ 30 h 356"/>
                  <a:gd name="T18" fmla="*/ 290 w 608"/>
                  <a:gd name="T19" fmla="*/ 43 h 356"/>
                  <a:gd name="T20" fmla="*/ 239 w 608"/>
                  <a:gd name="T21" fmla="*/ 58 h 356"/>
                  <a:gd name="T22" fmla="*/ 146 w 608"/>
                  <a:gd name="T23" fmla="*/ 65 h 356"/>
                  <a:gd name="T24" fmla="*/ 56 w 608"/>
                  <a:gd name="T25" fmla="*/ 63 h 356"/>
                  <a:gd name="T26" fmla="*/ 32 w 608"/>
                  <a:gd name="T27" fmla="*/ 65 h 356"/>
                  <a:gd name="T28" fmla="*/ 32 w 608"/>
                  <a:gd name="T29" fmla="*/ 82 h 356"/>
                  <a:gd name="T30" fmla="*/ 52 w 608"/>
                  <a:gd name="T31" fmla="*/ 108 h 356"/>
                  <a:gd name="T32" fmla="*/ 89 w 608"/>
                  <a:gd name="T33" fmla="*/ 155 h 356"/>
                  <a:gd name="T34" fmla="*/ 136 w 608"/>
                  <a:gd name="T35" fmla="*/ 194 h 356"/>
                  <a:gd name="T36" fmla="*/ 193 w 608"/>
                  <a:gd name="T37" fmla="*/ 250 h 356"/>
                  <a:gd name="T38" fmla="*/ 250 w 608"/>
                  <a:gd name="T39" fmla="*/ 291 h 356"/>
                  <a:gd name="T40" fmla="*/ 284 w 608"/>
                  <a:gd name="T41" fmla="*/ 315 h 356"/>
                  <a:gd name="T42" fmla="*/ 295 w 608"/>
                  <a:gd name="T43" fmla="*/ 340 h 356"/>
                  <a:gd name="T44" fmla="*/ 282 w 608"/>
                  <a:gd name="T45" fmla="*/ 356 h 356"/>
                  <a:gd name="T46" fmla="*/ 263 w 608"/>
                  <a:gd name="T47" fmla="*/ 347 h 356"/>
                  <a:gd name="T48" fmla="*/ 206 w 608"/>
                  <a:gd name="T49" fmla="*/ 296 h 356"/>
                  <a:gd name="T50" fmla="*/ 136 w 608"/>
                  <a:gd name="T51" fmla="*/ 237 h 356"/>
                  <a:gd name="T52" fmla="*/ 84 w 608"/>
                  <a:gd name="T53" fmla="*/ 194 h 356"/>
                  <a:gd name="T54" fmla="*/ 49 w 608"/>
                  <a:gd name="T55" fmla="*/ 155 h 356"/>
                  <a:gd name="T56" fmla="*/ 19 w 608"/>
                  <a:gd name="T57" fmla="*/ 114 h 356"/>
                  <a:gd name="T58" fmla="*/ 6 w 608"/>
                  <a:gd name="T59" fmla="*/ 88 h 356"/>
                  <a:gd name="T60" fmla="*/ 0 w 608"/>
                  <a:gd name="T61" fmla="*/ 58 h 356"/>
                  <a:gd name="T62" fmla="*/ 8 w 608"/>
                  <a:gd name="T63" fmla="*/ 39 h 356"/>
                  <a:gd name="T64" fmla="*/ 30 w 608"/>
                  <a:gd name="T65" fmla="*/ 30 h 356"/>
                  <a:gd name="T66" fmla="*/ 68 w 608"/>
                  <a:gd name="T67" fmla="*/ 33 h 356"/>
                  <a:gd name="T68" fmla="*/ 142 w 608"/>
                  <a:gd name="T69" fmla="*/ 43 h 356"/>
                  <a:gd name="T70" fmla="*/ 204 w 608"/>
                  <a:gd name="T71" fmla="*/ 43 h 356"/>
                  <a:gd name="T72" fmla="*/ 250 w 608"/>
                  <a:gd name="T73" fmla="*/ 30 h 356"/>
                  <a:gd name="T74" fmla="*/ 301 w 608"/>
                  <a:gd name="T75" fmla="*/ 19 h 356"/>
                  <a:gd name="T76" fmla="*/ 323 w 608"/>
                  <a:gd name="T77" fmla="*/ 0 h 356"/>
                  <a:gd name="T78" fmla="*/ 347 w 608"/>
                  <a:gd name="T79" fmla="*/ 0 h 356"/>
                  <a:gd name="T80" fmla="*/ 401 w 608"/>
                  <a:gd name="T81" fmla="*/ 33 h 356"/>
                  <a:gd name="T82" fmla="*/ 459 w 608"/>
                  <a:gd name="T83" fmla="*/ 77 h 356"/>
                  <a:gd name="T84" fmla="*/ 521 w 608"/>
                  <a:gd name="T85" fmla="*/ 117 h 356"/>
                  <a:gd name="T86" fmla="*/ 556 w 608"/>
                  <a:gd name="T87" fmla="*/ 142 h 356"/>
                  <a:gd name="T88" fmla="*/ 592 w 608"/>
                  <a:gd name="T89" fmla="*/ 166 h 356"/>
                  <a:gd name="T90" fmla="*/ 608 w 608"/>
                  <a:gd name="T91" fmla="*/ 174 h 356"/>
                  <a:gd name="T92" fmla="*/ 599 w 608"/>
                  <a:gd name="T93" fmla="*/ 192 h 356"/>
                  <a:gd name="T94" fmla="*/ 573 w 608"/>
                  <a:gd name="T95" fmla="*/ 207 h 356"/>
                  <a:gd name="T96" fmla="*/ 543 w 608"/>
                  <a:gd name="T97" fmla="*/ 233 h 356"/>
                  <a:gd name="T98" fmla="*/ 515 w 608"/>
                  <a:gd name="T99" fmla="*/ 244 h 356"/>
                  <a:gd name="T100" fmla="*/ 463 w 608"/>
                  <a:gd name="T101" fmla="*/ 266 h 356"/>
                  <a:gd name="T102" fmla="*/ 426 w 608"/>
                  <a:gd name="T103" fmla="*/ 282 h 356"/>
                  <a:gd name="T104" fmla="*/ 385 w 608"/>
                  <a:gd name="T105" fmla="*/ 308 h 356"/>
                  <a:gd name="T106" fmla="*/ 342 w 608"/>
                  <a:gd name="T107" fmla="*/ 315 h 356"/>
                  <a:gd name="T108" fmla="*/ 308 w 608"/>
                  <a:gd name="T109" fmla="*/ 317 h 356"/>
                  <a:gd name="T110" fmla="*/ 298 w 608"/>
                  <a:gd name="T111" fmla="*/ 304 h 35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8"/>
                  <a:gd name="T169" fmla="*/ 0 h 356"/>
                  <a:gd name="T170" fmla="*/ 608 w 608"/>
                  <a:gd name="T171" fmla="*/ 356 h 35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8" h="356">
                    <a:moveTo>
                      <a:pt x="298" y="304"/>
                    </a:moveTo>
                    <a:lnTo>
                      <a:pt x="394" y="278"/>
                    </a:lnTo>
                    <a:lnTo>
                      <a:pt x="472" y="244"/>
                    </a:lnTo>
                    <a:lnTo>
                      <a:pt x="528" y="204"/>
                    </a:lnTo>
                    <a:lnTo>
                      <a:pt x="550" y="182"/>
                    </a:lnTo>
                    <a:lnTo>
                      <a:pt x="469" y="108"/>
                    </a:lnTo>
                    <a:lnTo>
                      <a:pt x="405" y="69"/>
                    </a:lnTo>
                    <a:lnTo>
                      <a:pt x="342" y="30"/>
                    </a:lnTo>
                    <a:lnTo>
                      <a:pt x="330" y="30"/>
                    </a:lnTo>
                    <a:lnTo>
                      <a:pt x="290" y="43"/>
                    </a:lnTo>
                    <a:lnTo>
                      <a:pt x="239" y="58"/>
                    </a:lnTo>
                    <a:lnTo>
                      <a:pt x="146" y="65"/>
                    </a:lnTo>
                    <a:lnTo>
                      <a:pt x="56" y="63"/>
                    </a:lnTo>
                    <a:lnTo>
                      <a:pt x="32" y="65"/>
                    </a:lnTo>
                    <a:lnTo>
                      <a:pt x="32" y="82"/>
                    </a:lnTo>
                    <a:lnTo>
                      <a:pt x="52" y="108"/>
                    </a:lnTo>
                    <a:lnTo>
                      <a:pt x="89" y="155"/>
                    </a:lnTo>
                    <a:lnTo>
                      <a:pt x="136" y="194"/>
                    </a:lnTo>
                    <a:lnTo>
                      <a:pt x="193" y="250"/>
                    </a:lnTo>
                    <a:lnTo>
                      <a:pt x="250" y="291"/>
                    </a:lnTo>
                    <a:lnTo>
                      <a:pt x="284" y="315"/>
                    </a:lnTo>
                    <a:lnTo>
                      <a:pt x="295" y="340"/>
                    </a:lnTo>
                    <a:lnTo>
                      <a:pt x="282" y="356"/>
                    </a:lnTo>
                    <a:lnTo>
                      <a:pt x="263" y="347"/>
                    </a:lnTo>
                    <a:lnTo>
                      <a:pt x="206" y="296"/>
                    </a:lnTo>
                    <a:lnTo>
                      <a:pt x="136" y="237"/>
                    </a:lnTo>
                    <a:lnTo>
                      <a:pt x="84" y="194"/>
                    </a:lnTo>
                    <a:lnTo>
                      <a:pt x="49" y="155"/>
                    </a:lnTo>
                    <a:lnTo>
                      <a:pt x="19" y="114"/>
                    </a:lnTo>
                    <a:lnTo>
                      <a:pt x="6" y="88"/>
                    </a:lnTo>
                    <a:lnTo>
                      <a:pt x="0" y="58"/>
                    </a:lnTo>
                    <a:lnTo>
                      <a:pt x="8" y="39"/>
                    </a:lnTo>
                    <a:lnTo>
                      <a:pt x="30" y="30"/>
                    </a:lnTo>
                    <a:lnTo>
                      <a:pt x="68" y="33"/>
                    </a:lnTo>
                    <a:lnTo>
                      <a:pt x="142" y="43"/>
                    </a:lnTo>
                    <a:lnTo>
                      <a:pt x="204" y="43"/>
                    </a:lnTo>
                    <a:lnTo>
                      <a:pt x="250" y="30"/>
                    </a:lnTo>
                    <a:lnTo>
                      <a:pt x="301" y="19"/>
                    </a:lnTo>
                    <a:lnTo>
                      <a:pt x="323" y="0"/>
                    </a:lnTo>
                    <a:lnTo>
                      <a:pt x="347" y="0"/>
                    </a:lnTo>
                    <a:lnTo>
                      <a:pt x="401" y="33"/>
                    </a:lnTo>
                    <a:lnTo>
                      <a:pt x="459" y="77"/>
                    </a:lnTo>
                    <a:lnTo>
                      <a:pt x="521" y="117"/>
                    </a:lnTo>
                    <a:lnTo>
                      <a:pt x="556" y="142"/>
                    </a:lnTo>
                    <a:lnTo>
                      <a:pt x="592" y="166"/>
                    </a:lnTo>
                    <a:lnTo>
                      <a:pt x="608" y="174"/>
                    </a:lnTo>
                    <a:lnTo>
                      <a:pt x="599" y="192"/>
                    </a:lnTo>
                    <a:lnTo>
                      <a:pt x="573" y="207"/>
                    </a:lnTo>
                    <a:lnTo>
                      <a:pt x="543" y="233"/>
                    </a:lnTo>
                    <a:lnTo>
                      <a:pt x="515" y="244"/>
                    </a:lnTo>
                    <a:lnTo>
                      <a:pt x="463" y="266"/>
                    </a:lnTo>
                    <a:lnTo>
                      <a:pt x="426" y="282"/>
                    </a:lnTo>
                    <a:lnTo>
                      <a:pt x="385" y="308"/>
                    </a:lnTo>
                    <a:lnTo>
                      <a:pt x="342" y="315"/>
                    </a:lnTo>
                    <a:lnTo>
                      <a:pt x="308" y="317"/>
                    </a:lnTo>
                    <a:lnTo>
                      <a:pt x="298" y="3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3" name="Freeform 404"/>
              <p:cNvSpPr>
                <a:spLocks/>
              </p:cNvSpPr>
              <p:nvPr/>
            </p:nvSpPr>
            <p:spPr bwMode="auto">
              <a:xfrm>
                <a:off x="4475" y="1470"/>
                <a:ext cx="48" cy="30"/>
              </a:xfrm>
              <a:custGeom>
                <a:avLst/>
                <a:gdLst>
                  <a:gd name="T0" fmla="*/ 162 w 192"/>
                  <a:gd name="T1" fmla="*/ 15 h 123"/>
                  <a:gd name="T2" fmla="*/ 122 w 192"/>
                  <a:gd name="T3" fmla="*/ 47 h 123"/>
                  <a:gd name="T4" fmla="*/ 84 w 192"/>
                  <a:gd name="T5" fmla="*/ 77 h 123"/>
                  <a:gd name="T6" fmla="*/ 30 w 192"/>
                  <a:gd name="T7" fmla="*/ 96 h 123"/>
                  <a:gd name="T8" fmla="*/ 0 w 192"/>
                  <a:gd name="T9" fmla="*/ 106 h 123"/>
                  <a:gd name="T10" fmla="*/ 24 w 192"/>
                  <a:gd name="T11" fmla="*/ 123 h 123"/>
                  <a:gd name="T12" fmla="*/ 63 w 192"/>
                  <a:gd name="T13" fmla="*/ 117 h 123"/>
                  <a:gd name="T14" fmla="*/ 123 w 192"/>
                  <a:gd name="T15" fmla="*/ 77 h 123"/>
                  <a:gd name="T16" fmla="*/ 192 w 192"/>
                  <a:gd name="T17" fmla="*/ 0 h 123"/>
                  <a:gd name="T18" fmla="*/ 162 w 192"/>
                  <a:gd name="T19" fmla="*/ 15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3"/>
                  <a:gd name="T32" fmla="*/ 192 w 192"/>
                  <a:gd name="T33" fmla="*/ 123 h 12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3">
                    <a:moveTo>
                      <a:pt x="162" y="15"/>
                    </a:moveTo>
                    <a:lnTo>
                      <a:pt x="122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6"/>
                    </a:lnTo>
                    <a:lnTo>
                      <a:pt x="24" y="123"/>
                    </a:lnTo>
                    <a:lnTo>
                      <a:pt x="63" y="117"/>
                    </a:lnTo>
                    <a:lnTo>
                      <a:pt x="123" y="77"/>
                    </a:lnTo>
                    <a:lnTo>
                      <a:pt x="192" y="0"/>
                    </a:lnTo>
                    <a:lnTo>
                      <a:pt x="162" y="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8" name="Group 423"/>
            <p:cNvGrpSpPr>
              <a:grpSpLocks/>
            </p:cNvGrpSpPr>
            <p:nvPr/>
          </p:nvGrpSpPr>
          <p:grpSpPr bwMode="auto">
            <a:xfrm>
              <a:off x="4429" y="1461"/>
              <a:ext cx="177" cy="400"/>
              <a:chOff x="4429" y="1461"/>
              <a:chExt cx="177" cy="400"/>
            </a:xfrm>
          </p:grpSpPr>
          <p:sp>
            <p:nvSpPr>
              <p:cNvPr id="130" name="Freeform 406"/>
              <p:cNvSpPr>
                <a:spLocks/>
              </p:cNvSpPr>
              <p:nvPr/>
            </p:nvSpPr>
            <p:spPr bwMode="auto">
              <a:xfrm>
                <a:off x="4433" y="1479"/>
                <a:ext cx="93" cy="377"/>
              </a:xfrm>
              <a:custGeom>
                <a:avLst/>
                <a:gdLst>
                  <a:gd name="T0" fmla="*/ 366 w 372"/>
                  <a:gd name="T1" fmla="*/ 272 h 1508"/>
                  <a:gd name="T2" fmla="*/ 372 w 372"/>
                  <a:gd name="T3" fmla="*/ 327 h 1508"/>
                  <a:gd name="T4" fmla="*/ 372 w 372"/>
                  <a:gd name="T5" fmla="*/ 626 h 1508"/>
                  <a:gd name="T6" fmla="*/ 346 w 372"/>
                  <a:gd name="T7" fmla="*/ 1027 h 1508"/>
                  <a:gd name="T8" fmla="*/ 348 w 372"/>
                  <a:gd name="T9" fmla="*/ 1282 h 1508"/>
                  <a:gd name="T10" fmla="*/ 362 w 372"/>
                  <a:gd name="T11" fmla="*/ 1459 h 1508"/>
                  <a:gd name="T12" fmla="*/ 348 w 372"/>
                  <a:gd name="T13" fmla="*/ 1508 h 1508"/>
                  <a:gd name="T14" fmla="*/ 327 w 372"/>
                  <a:gd name="T15" fmla="*/ 1497 h 1508"/>
                  <a:gd name="T16" fmla="*/ 201 w 372"/>
                  <a:gd name="T17" fmla="*/ 1400 h 1508"/>
                  <a:gd name="T18" fmla="*/ 168 w 372"/>
                  <a:gd name="T19" fmla="*/ 1381 h 1508"/>
                  <a:gd name="T20" fmla="*/ 149 w 372"/>
                  <a:gd name="T21" fmla="*/ 1353 h 1508"/>
                  <a:gd name="T22" fmla="*/ 117 w 372"/>
                  <a:gd name="T23" fmla="*/ 1316 h 1508"/>
                  <a:gd name="T24" fmla="*/ 73 w 372"/>
                  <a:gd name="T25" fmla="*/ 1278 h 1508"/>
                  <a:gd name="T26" fmla="*/ 52 w 372"/>
                  <a:gd name="T27" fmla="*/ 1226 h 1508"/>
                  <a:gd name="T28" fmla="*/ 0 w 372"/>
                  <a:gd name="T29" fmla="*/ 1182 h 1508"/>
                  <a:gd name="T30" fmla="*/ 0 w 372"/>
                  <a:gd name="T31" fmla="*/ 1155 h 1508"/>
                  <a:gd name="T32" fmla="*/ 28 w 372"/>
                  <a:gd name="T33" fmla="*/ 1120 h 1508"/>
                  <a:gd name="T34" fmla="*/ 39 w 372"/>
                  <a:gd name="T35" fmla="*/ 1076 h 1508"/>
                  <a:gd name="T36" fmla="*/ 33 w 372"/>
                  <a:gd name="T37" fmla="*/ 1052 h 1508"/>
                  <a:gd name="T38" fmla="*/ 19 w 372"/>
                  <a:gd name="T39" fmla="*/ 1014 h 1508"/>
                  <a:gd name="T40" fmla="*/ 15 w 372"/>
                  <a:gd name="T41" fmla="*/ 986 h 1508"/>
                  <a:gd name="T42" fmla="*/ 35 w 372"/>
                  <a:gd name="T43" fmla="*/ 943 h 1508"/>
                  <a:gd name="T44" fmla="*/ 35 w 372"/>
                  <a:gd name="T45" fmla="*/ 914 h 1508"/>
                  <a:gd name="T46" fmla="*/ 13 w 372"/>
                  <a:gd name="T47" fmla="*/ 856 h 1508"/>
                  <a:gd name="T48" fmla="*/ 13 w 372"/>
                  <a:gd name="T49" fmla="*/ 824 h 1508"/>
                  <a:gd name="T50" fmla="*/ 25 w 372"/>
                  <a:gd name="T51" fmla="*/ 799 h 1508"/>
                  <a:gd name="T52" fmla="*/ 47 w 372"/>
                  <a:gd name="T53" fmla="*/ 769 h 1508"/>
                  <a:gd name="T54" fmla="*/ 46 w 372"/>
                  <a:gd name="T55" fmla="*/ 717 h 1508"/>
                  <a:gd name="T56" fmla="*/ 33 w 372"/>
                  <a:gd name="T57" fmla="*/ 675 h 1508"/>
                  <a:gd name="T58" fmla="*/ 46 w 372"/>
                  <a:gd name="T59" fmla="*/ 626 h 1508"/>
                  <a:gd name="T60" fmla="*/ 58 w 372"/>
                  <a:gd name="T61" fmla="*/ 614 h 1508"/>
                  <a:gd name="T62" fmla="*/ 47 w 372"/>
                  <a:gd name="T63" fmla="*/ 568 h 1508"/>
                  <a:gd name="T64" fmla="*/ 19 w 372"/>
                  <a:gd name="T65" fmla="*/ 520 h 1508"/>
                  <a:gd name="T66" fmla="*/ 13 w 372"/>
                  <a:gd name="T67" fmla="*/ 489 h 1508"/>
                  <a:gd name="T68" fmla="*/ 19 w 372"/>
                  <a:gd name="T69" fmla="*/ 459 h 1508"/>
                  <a:gd name="T70" fmla="*/ 54 w 372"/>
                  <a:gd name="T71" fmla="*/ 433 h 1508"/>
                  <a:gd name="T72" fmla="*/ 52 w 372"/>
                  <a:gd name="T73" fmla="*/ 411 h 1508"/>
                  <a:gd name="T74" fmla="*/ 15 w 372"/>
                  <a:gd name="T75" fmla="*/ 343 h 1508"/>
                  <a:gd name="T76" fmla="*/ 3 w 372"/>
                  <a:gd name="T77" fmla="*/ 288 h 1508"/>
                  <a:gd name="T78" fmla="*/ 13 w 372"/>
                  <a:gd name="T79" fmla="*/ 258 h 1508"/>
                  <a:gd name="T80" fmla="*/ 47 w 372"/>
                  <a:gd name="T81" fmla="*/ 231 h 1508"/>
                  <a:gd name="T82" fmla="*/ 39 w 372"/>
                  <a:gd name="T83" fmla="*/ 207 h 1508"/>
                  <a:gd name="T84" fmla="*/ 15 w 372"/>
                  <a:gd name="T85" fmla="*/ 179 h 1508"/>
                  <a:gd name="T86" fmla="*/ 15 w 372"/>
                  <a:gd name="T87" fmla="*/ 149 h 1508"/>
                  <a:gd name="T88" fmla="*/ 54 w 372"/>
                  <a:gd name="T89" fmla="*/ 129 h 1508"/>
                  <a:gd name="T90" fmla="*/ 71 w 372"/>
                  <a:gd name="T91" fmla="*/ 107 h 1508"/>
                  <a:gd name="T92" fmla="*/ 39 w 372"/>
                  <a:gd name="T93" fmla="*/ 63 h 1508"/>
                  <a:gd name="T94" fmla="*/ 39 w 372"/>
                  <a:gd name="T95" fmla="*/ 39 h 1508"/>
                  <a:gd name="T96" fmla="*/ 77 w 372"/>
                  <a:gd name="T97" fmla="*/ 24 h 1508"/>
                  <a:gd name="T98" fmla="*/ 79 w 372"/>
                  <a:gd name="T99" fmla="*/ 0 h 1508"/>
                  <a:gd name="T100" fmla="*/ 123 w 372"/>
                  <a:gd name="T101" fmla="*/ 63 h 1508"/>
                  <a:gd name="T102" fmla="*/ 174 w 372"/>
                  <a:gd name="T103" fmla="*/ 128 h 1508"/>
                  <a:gd name="T104" fmla="*/ 239 w 372"/>
                  <a:gd name="T105" fmla="*/ 179 h 1508"/>
                  <a:gd name="T106" fmla="*/ 291 w 372"/>
                  <a:gd name="T107" fmla="*/ 220 h 1508"/>
                  <a:gd name="T108" fmla="*/ 346 w 372"/>
                  <a:gd name="T109" fmla="*/ 252 h 1508"/>
                  <a:gd name="T110" fmla="*/ 366 w 372"/>
                  <a:gd name="T111" fmla="*/ 272 h 15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2"/>
                  <a:gd name="T169" fmla="*/ 0 h 1508"/>
                  <a:gd name="T170" fmla="*/ 372 w 372"/>
                  <a:gd name="T171" fmla="*/ 1508 h 15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2" h="1508">
                    <a:moveTo>
                      <a:pt x="366" y="272"/>
                    </a:moveTo>
                    <a:lnTo>
                      <a:pt x="372" y="327"/>
                    </a:lnTo>
                    <a:lnTo>
                      <a:pt x="372" y="626"/>
                    </a:lnTo>
                    <a:lnTo>
                      <a:pt x="346" y="1027"/>
                    </a:lnTo>
                    <a:lnTo>
                      <a:pt x="348" y="1282"/>
                    </a:lnTo>
                    <a:lnTo>
                      <a:pt x="362" y="1459"/>
                    </a:lnTo>
                    <a:lnTo>
                      <a:pt x="348" y="1508"/>
                    </a:lnTo>
                    <a:lnTo>
                      <a:pt x="327" y="1497"/>
                    </a:lnTo>
                    <a:lnTo>
                      <a:pt x="201" y="1400"/>
                    </a:lnTo>
                    <a:lnTo>
                      <a:pt x="168" y="1381"/>
                    </a:lnTo>
                    <a:lnTo>
                      <a:pt x="149" y="1353"/>
                    </a:lnTo>
                    <a:lnTo>
                      <a:pt x="117" y="1316"/>
                    </a:lnTo>
                    <a:lnTo>
                      <a:pt x="73" y="1278"/>
                    </a:lnTo>
                    <a:lnTo>
                      <a:pt x="52" y="1226"/>
                    </a:lnTo>
                    <a:lnTo>
                      <a:pt x="0" y="1182"/>
                    </a:lnTo>
                    <a:lnTo>
                      <a:pt x="0" y="1155"/>
                    </a:lnTo>
                    <a:lnTo>
                      <a:pt x="28" y="1120"/>
                    </a:lnTo>
                    <a:lnTo>
                      <a:pt x="39" y="1076"/>
                    </a:lnTo>
                    <a:lnTo>
                      <a:pt x="33" y="1052"/>
                    </a:lnTo>
                    <a:lnTo>
                      <a:pt x="19" y="1014"/>
                    </a:lnTo>
                    <a:lnTo>
                      <a:pt x="15" y="986"/>
                    </a:lnTo>
                    <a:lnTo>
                      <a:pt x="35" y="943"/>
                    </a:lnTo>
                    <a:lnTo>
                      <a:pt x="35" y="914"/>
                    </a:lnTo>
                    <a:lnTo>
                      <a:pt x="13" y="856"/>
                    </a:lnTo>
                    <a:lnTo>
                      <a:pt x="13" y="824"/>
                    </a:lnTo>
                    <a:lnTo>
                      <a:pt x="25" y="799"/>
                    </a:lnTo>
                    <a:lnTo>
                      <a:pt x="47" y="769"/>
                    </a:lnTo>
                    <a:lnTo>
                      <a:pt x="46" y="717"/>
                    </a:lnTo>
                    <a:lnTo>
                      <a:pt x="33" y="675"/>
                    </a:lnTo>
                    <a:lnTo>
                      <a:pt x="46" y="626"/>
                    </a:lnTo>
                    <a:lnTo>
                      <a:pt x="58" y="614"/>
                    </a:lnTo>
                    <a:lnTo>
                      <a:pt x="47" y="568"/>
                    </a:lnTo>
                    <a:lnTo>
                      <a:pt x="19" y="520"/>
                    </a:lnTo>
                    <a:lnTo>
                      <a:pt x="13" y="489"/>
                    </a:lnTo>
                    <a:lnTo>
                      <a:pt x="19" y="459"/>
                    </a:lnTo>
                    <a:lnTo>
                      <a:pt x="54" y="433"/>
                    </a:lnTo>
                    <a:lnTo>
                      <a:pt x="52" y="411"/>
                    </a:lnTo>
                    <a:lnTo>
                      <a:pt x="15" y="343"/>
                    </a:lnTo>
                    <a:lnTo>
                      <a:pt x="3" y="288"/>
                    </a:lnTo>
                    <a:lnTo>
                      <a:pt x="13" y="258"/>
                    </a:lnTo>
                    <a:lnTo>
                      <a:pt x="47" y="231"/>
                    </a:lnTo>
                    <a:lnTo>
                      <a:pt x="39" y="207"/>
                    </a:lnTo>
                    <a:lnTo>
                      <a:pt x="15" y="179"/>
                    </a:lnTo>
                    <a:lnTo>
                      <a:pt x="15" y="149"/>
                    </a:lnTo>
                    <a:lnTo>
                      <a:pt x="54" y="129"/>
                    </a:lnTo>
                    <a:lnTo>
                      <a:pt x="71" y="107"/>
                    </a:lnTo>
                    <a:lnTo>
                      <a:pt x="39" y="63"/>
                    </a:lnTo>
                    <a:lnTo>
                      <a:pt x="39" y="39"/>
                    </a:lnTo>
                    <a:lnTo>
                      <a:pt x="77" y="24"/>
                    </a:lnTo>
                    <a:lnTo>
                      <a:pt x="79" y="0"/>
                    </a:lnTo>
                    <a:lnTo>
                      <a:pt x="123" y="63"/>
                    </a:lnTo>
                    <a:lnTo>
                      <a:pt x="174" y="128"/>
                    </a:lnTo>
                    <a:lnTo>
                      <a:pt x="239" y="179"/>
                    </a:lnTo>
                    <a:lnTo>
                      <a:pt x="291" y="220"/>
                    </a:lnTo>
                    <a:lnTo>
                      <a:pt x="346" y="252"/>
                    </a:lnTo>
                    <a:lnTo>
                      <a:pt x="366" y="272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1" name="Freeform 407"/>
              <p:cNvSpPr>
                <a:spLocks/>
              </p:cNvSpPr>
              <p:nvPr/>
            </p:nvSpPr>
            <p:spPr bwMode="auto">
              <a:xfrm>
                <a:off x="4429" y="1485"/>
                <a:ext cx="27" cy="287"/>
              </a:xfrm>
              <a:custGeom>
                <a:avLst/>
                <a:gdLst>
                  <a:gd name="T0" fmla="*/ 73 w 107"/>
                  <a:gd name="T1" fmla="*/ 39 h 1149"/>
                  <a:gd name="T2" fmla="*/ 107 w 107"/>
                  <a:gd name="T3" fmla="*/ 79 h 1149"/>
                  <a:gd name="T4" fmla="*/ 86 w 107"/>
                  <a:gd name="T5" fmla="*/ 112 h 1149"/>
                  <a:gd name="T6" fmla="*/ 41 w 107"/>
                  <a:gd name="T7" fmla="*/ 135 h 1149"/>
                  <a:gd name="T8" fmla="*/ 59 w 107"/>
                  <a:gd name="T9" fmla="*/ 167 h 1149"/>
                  <a:gd name="T10" fmla="*/ 79 w 107"/>
                  <a:gd name="T11" fmla="*/ 208 h 1149"/>
                  <a:gd name="T12" fmla="*/ 54 w 107"/>
                  <a:gd name="T13" fmla="*/ 234 h 1149"/>
                  <a:gd name="T14" fmla="*/ 32 w 107"/>
                  <a:gd name="T15" fmla="*/ 267 h 1149"/>
                  <a:gd name="T16" fmla="*/ 54 w 107"/>
                  <a:gd name="T17" fmla="*/ 324 h 1149"/>
                  <a:gd name="T18" fmla="*/ 79 w 107"/>
                  <a:gd name="T19" fmla="*/ 376 h 1149"/>
                  <a:gd name="T20" fmla="*/ 73 w 107"/>
                  <a:gd name="T21" fmla="*/ 422 h 1149"/>
                  <a:gd name="T22" fmla="*/ 41 w 107"/>
                  <a:gd name="T23" fmla="*/ 460 h 1149"/>
                  <a:gd name="T24" fmla="*/ 78 w 107"/>
                  <a:gd name="T25" fmla="*/ 542 h 1149"/>
                  <a:gd name="T26" fmla="*/ 92 w 107"/>
                  <a:gd name="T27" fmla="*/ 593 h 1149"/>
                  <a:gd name="T28" fmla="*/ 65 w 107"/>
                  <a:gd name="T29" fmla="*/ 632 h 1149"/>
                  <a:gd name="T30" fmla="*/ 71 w 107"/>
                  <a:gd name="T31" fmla="*/ 690 h 1149"/>
                  <a:gd name="T32" fmla="*/ 90 w 107"/>
                  <a:gd name="T33" fmla="*/ 748 h 1149"/>
                  <a:gd name="T34" fmla="*/ 67 w 107"/>
                  <a:gd name="T35" fmla="*/ 780 h 1149"/>
                  <a:gd name="T36" fmla="*/ 35 w 107"/>
                  <a:gd name="T37" fmla="*/ 819 h 1149"/>
                  <a:gd name="T38" fmla="*/ 67 w 107"/>
                  <a:gd name="T39" fmla="*/ 890 h 1149"/>
                  <a:gd name="T40" fmla="*/ 79 w 107"/>
                  <a:gd name="T41" fmla="*/ 938 h 1149"/>
                  <a:gd name="T42" fmla="*/ 51 w 107"/>
                  <a:gd name="T43" fmla="*/ 949 h 1149"/>
                  <a:gd name="T44" fmla="*/ 59 w 107"/>
                  <a:gd name="T45" fmla="*/ 1025 h 1149"/>
                  <a:gd name="T46" fmla="*/ 73 w 107"/>
                  <a:gd name="T47" fmla="*/ 1066 h 1149"/>
                  <a:gd name="T48" fmla="*/ 51 w 107"/>
                  <a:gd name="T49" fmla="*/ 1112 h 1149"/>
                  <a:gd name="T50" fmla="*/ 2 w 107"/>
                  <a:gd name="T51" fmla="*/ 1136 h 1149"/>
                  <a:gd name="T52" fmla="*/ 39 w 107"/>
                  <a:gd name="T53" fmla="*/ 1058 h 1149"/>
                  <a:gd name="T54" fmla="*/ 21 w 107"/>
                  <a:gd name="T55" fmla="*/ 993 h 1149"/>
                  <a:gd name="T56" fmla="*/ 26 w 107"/>
                  <a:gd name="T57" fmla="*/ 938 h 1149"/>
                  <a:gd name="T58" fmla="*/ 41 w 107"/>
                  <a:gd name="T59" fmla="*/ 910 h 1149"/>
                  <a:gd name="T60" fmla="*/ 9 w 107"/>
                  <a:gd name="T61" fmla="*/ 840 h 1149"/>
                  <a:gd name="T62" fmla="*/ 9 w 107"/>
                  <a:gd name="T63" fmla="*/ 770 h 1149"/>
                  <a:gd name="T64" fmla="*/ 48 w 107"/>
                  <a:gd name="T65" fmla="*/ 737 h 1149"/>
                  <a:gd name="T66" fmla="*/ 39 w 107"/>
                  <a:gd name="T67" fmla="*/ 686 h 1149"/>
                  <a:gd name="T68" fmla="*/ 29 w 107"/>
                  <a:gd name="T69" fmla="*/ 626 h 1149"/>
                  <a:gd name="T70" fmla="*/ 59 w 107"/>
                  <a:gd name="T71" fmla="*/ 587 h 1149"/>
                  <a:gd name="T72" fmla="*/ 45 w 107"/>
                  <a:gd name="T73" fmla="*/ 544 h 1149"/>
                  <a:gd name="T74" fmla="*/ 9 w 107"/>
                  <a:gd name="T75" fmla="*/ 477 h 1149"/>
                  <a:gd name="T76" fmla="*/ 15 w 107"/>
                  <a:gd name="T77" fmla="*/ 432 h 1149"/>
                  <a:gd name="T78" fmla="*/ 48 w 107"/>
                  <a:gd name="T79" fmla="*/ 395 h 1149"/>
                  <a:gd name="T80" fmla="*/ 13 w 107"/>
                  <a:gd name="T81" fmla="*/ 310 h 1149"/>
                  <a:gd name="T82" fmla="*/ 0 w 107"/>
                  <a:gd name="T83" fmla="*/ 259 h 1149"/>
                  <a:gd name="T84" fmla="*/ 29 w 107"/>
                  <a:gd name="T85" fmla="*/ 221 h 1149"/>
                  <a:gd name="T86" fmla="*/ 41 w 107"/>
                  <a:gd name="T87" fmla="*/ 196 h 1149"/>
                  <a:gd name="T88" fmla="*/ 9 w 107"/>
                  <a:gd name="T89" fmla="*/ 155 h 1149"/>
                  <a:gd name="T90" fmla="*/ 21 w 107"/>
                  <a:gd name="T91" fmla="*/ 115 h 1149"/>
                  <a:gd name="T92" fmla="*/ 59 w 107"/>
                  <a:gd name="T93" fmla="*/ 90 h 1149"/>
                  <a:gd name="T94" fmla="*/ 60 w 107"/>
                  <a:gd name="T95" fmla="*/ 60 h 1149"/>
                  <a:gd name="T96" fmla="*/ 41 w 107"/>
                  <a:gd name="T97" fmla="*/ 21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7"/>
                  <a:gd name="T148" fmla="*/ 0 h 1149"/>
                  <a:gd name="T149" fmla="*/ 107 w 107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7" h="1149">
                    <a:moveTo>
                      <a:pt x="54" y="0"/>
                    </a:moveTo>
                    <a:lnTo>
                      <a:pt x="73" y="39"/>
                    </a:lnTo>
                    <a:lnTo>
                      <a:pt x="90" y="64"/>
                    </a:lnTo>
                    <a:lnTo>
                      <a:pt x="107" y="79"/>
                    </a:lnTo>
                    <a:lnTo>
                      <a:pt x="103" y="99"/>
                    </a:lnTo>
                    <a:lnTo>
                      <a:pt x="86" y="112"/>
                    </a:lnTo>
                    <a:lnTo>
                      <a:pt x="60" y="118"/>
                    </a:lnTo>
                    <a:lnTo>
                      <a:pt x="41" y="135"/>
                    </a:lnTo>
                    <a:lnTo>
                      <a:pt x="45" y="155"/>
                    </a:lnTo>
                    <a:lnTo>
                      <a:pt x="59" y="167"/>
                    </a:lnTo>
                    <a:lnTo>
                      <a:pt x="79" y="193"/>
                    </a:lnTo>
                    <a:lnTo>
                      <a:pt x="79" y="208"/>
                    </a:lnTo>
                    <a:lnTo>
                      <a:pt x="73" y="221"/>
                    </a:lnTo>
                    <a:lnTo>
                      <a:pt x="54" y="234"/>
                    </a:lnTo>
                    <a:lnTo>
                      <a:pt x="35" y="247"/>
                    </a:lnTo>
                    <a:lnTo>
                      <a:pt x="32" y="267"/>
                    </a:lnTo>
                    <a:lnTo>
                      <a:pt x="39" y="286"/>
                    </a:lnTo>
                    <a:lnTo>
                      <a:pt x="54" y="324"/>
                    </a:lnTo>
                    <a:lnTo>
                      <a:pt x="67" y="354"/>
                    </a:lnTo>
                    <a:lnTo>
                      <a:pt x="79" y="376"/>
                    </a:lnTo>
                    <a:lnTo>
                      <a:pt x="79" y="400"/>
                    </a:lnTo>
                    <a:lnTo>
                      <a:pt x="73" y="422"/>
                    </a:lnTo>
                    <a:lnTo>
                      <a:pt x="54" y="441"/>
                    </a:lnTo>
                    <a:lnTo>
                      <a:pt x="41" y="460"/>
                    </a:lnTo>
                    <a:lnTo>
                      <a:pt x="45" y="492"/>
                    </a:lnTo>
                    <a:lnTo>
                      <a:pt x="78" y="542"/>
                    </a:lnTo>
                    <a:lnTo>
                      <a:pt x="90" y="568"/>
                    </a:lnTo>
                    <a:lnTo>
                      <a:pt x="92" y="593"/>
                    </a:lnTo>
                    <a:lnTo>
                      <a:pt x="79" y="612"/>
                    </a:lnTo>
                    <a:lnTo>
                      <a:pt x="65" y="632"/>
                    </a:lnTo>
                    <a:lnTo>
                      <a:pt x="60" y="658"/>
                    </a:lnTo>
                    <a:lnTo>
                      <a:pt x="71" y="690"/>
                    </a:lnTo>
                    <a:lnTo>
                      <a:pt x="84" y="724"/>
                    </a:lnTo>
                    <a:lnTo>
                      <a:pt x="90" y="748"/>
                    </a:lnTo>
                    <a:lnTo>
                      <a:pt x="84" y="764"/>
                    </a:lnTo>
                    <a:lnTo>
                      <a:pt x="67" y="780"/>
                    </a:lnTo>
                    <a:lnTo>
                      <a:pt x="45" y="800"/>
                    </a:lnTo>
                    <a:lnTo>
                      <a:pt x="35" y="819"/>
                    </a:lnTo>
                    <a:lnTo>
                      <a:pt x="45" y="854"/>
                    </a:lnTo>
                    <a:lnTo>
                      <a:pt x="67" y="890"/>
                    </a:lnTo>
                    <a:lnTo>
                      <a:pt x="78" y="916"/>
                    </a:lnTo>
                    <a:lnTo>
                      <a:pt x="79" y="938"/>
                    </a:lnTo>
                    <a:lnTo>
                      <a:pt x="73" y="949"/>
                    </a:lnTo>
                    <a:lnTo>
                      <a:pt x="51" y="949"/>
                    </a:lnTo>
                    <a:lnTo>
                      <a:pt x="45" y="995"/>
                    </a:lnTo>
                    <a:lnTo>
                      <a:pt x="59" y="1025"/>
                    </a:lnTo>
                    <a:lnTo>
                      <a:pt x="71" y="1047"/>
                    </a:lnTo>
                    <a:lnTo>
                      <a:pt x="73" y="1066"/>
                    </a:lnTo>
                    <a:lnTo>
                      <a:pt x="73" y="1084"/>
                    </a:lnTo>
                    <a:lnTo>
                      <a:pt x="51" y="1112"/>
                    </a:lnTo>
                    <a:lnTo>
                      <a:pt x="21" y="1149"/>
                    </a:lnTo>
                    <a:lnTo>
                      <a:pt x="2" y="1136"/>
                    </a:lnTo>
                    <a:lnTo>
                      <a:pt x="9" y="1106"/>
                    </a:lnTo>
                    <a:lnTo>
                      <a:pt x="39" y="1058"/>
                    </a:lnTo>
                    <a:lnTo>
                      <a:pt x="35" y="1028"/>
                    </a:lnTo>
                    <a:lnTo>
                      <a:pt x="21" y="993"/>
                    </a:lnTo>
                    <a:lnTo>
                      <a:pt x="13" y="963"/>
                    </a:lnTo>
                    <a:lnTo>
                      <a:pt x="26" y="938"/>
                    </a:lnTo>
                    <a:lnTo>
                      <a:pt x="39" y="929"/>
                    </a:lnTo>
                    <a:lnTo>
                      <a:pt x="41" y="910"/>
                    </a:lnTo>
                    <a:lnTo>
                      <a:pt x="26" y="873"/>
                    </a:lnTo>
                    <a:lnTo>
                      <a:pt x="9" y="840"/>
                    </a:lnTo>
                    <a:lnTo>
                      <a:pt x="0" y="808"/>
                    </a:lnTo>
                    <a:lnTo>
                      <a:pt x="9" y="770"/>
                    </a:lnTo>
                    <a:lnTo>
                      <a:pt x="39" y="755"/>
                    </a:lnTo>
                    <a:lnTo>
                      <a:pt x="48" y="737"/>
                    </a:lnTo>
                    <a:lnTo>
                      <a:pt x="45" y="712"/>
                    </a:lnTo>
                    <a:lnTo>
                      <a:pt x="39" y="686"/>
                    </a:lnTo>
                    <a:lnTo>
                      <a:pt x="29" y="652"/>
                    </a:lnTo>
                    <a:lnTo>
                      <a:pt x="29" y="626"/>
                    </a:lnTo>
                    <a:lnTo>
                      <a:pt x="41" y="609"/>
                    </a:lnTo>
                    <a:lnTo>
                      <a:pt x="59" y="587"/>
                    </a:lnTo>
                    <a:lnTo>
                      <a:pt x="59" y="574"/>
                    </a:lnTo>
                    <a:lnTo>
                      <a:pt x="45" y="544"/>
                    </a:lnTo>
                    <a:lnTo>
                      <a:pt x="20" y="506"/>
                    </a:lnTo>
                    <a:lnTo>
                      <a:pt x="9" y="477"/>
                    </a:lnTo>
                    <a:lnTo>
                      <a:pt x="9" y="454"/>
                    </a:lnTo>
                    <a:lnTo>
                      <a:pt x="15" y="432"/>
                    </a:lnTo>
                    <a:lnTo>
                      <a:pt x="32" y="414"/>
                    </a:lnTo>
                    <a:lnTo>
                      <a:pt x="48" y="395"/>
                    </a:lnTo>
                    <a:lnTo>
                      <a:pt x="48" y="381"/>
                    </a:lnTo>
                    <a:lnTo>
                      <a:pt x="13" y="310"/>
                    </a:lnTo>
                    <a:lnTo>
                      <a:pt x="7" y="283"/>
                    </a:lnTo>
                    <a:lnTo>
                      <a:pt x="0" y="259"/>
                    </a:lnTo>
                    <a:lnTo>
                      <a:pt x="13" y="238"/>
                    </a:lnTo>
                    <a:lnTo>
                      <a:pt x="29" y="221"/>
                    </a:lnTo>
                    <a:lnTo>
                      <a:pt x="41" y="208"/>
                    </a:lnTo>
                    <a:lnTo>
                      <a:pt x="41" y="196"/>
                    </a:lnTo>
                    <a:lnTo>
                      <a:pt x="29" y="175"/>
                    </a:lnTo>
                    <a:lnTo>
                      <a:pt x="9" y="155"/>
                    </a:lnTo>
                    <a:lnTo>
                      <a:pt x="9" y="135"/>
                    </a:lnTo>
                    <a:lnTo>
                      <a:pt x="21" y="115"/>
                    </a:lnTo>
                    <a:lnTo>
                      <a:pt x="41" y="99"/>
                    </a:lnTo>
                    <a:lnTo>
                      <a:pt x="59" y="90"/>
                    </a:lnTo>
                    <a:lnTo>
                      <a:pt x="67" y="77"/>
                    </a:lnTo>
                    <a:lnTo>
                      <a:pt x="60" y="60"/>
                    </a:lnTo>
                    <a:lnTo>
                      <a:pt x="48" y="41"/>
                    </a:lnTo>
                    <a:lnTo>
                      <a:pt x="41" y="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2" name="Freeform 408"/>
              <p:cNvSpPr>
                <a:spLocks/>
              </p:cNvSpPr>
              <p:nvPr/>
            </p:nvSpPr>
            <p:spPr bwMode="auto">
              <a:xfrm>
                <a:off x="4502" y="1554"/>
                <a:ext cx="25" cy="233"/>
              </a:xfrm>
              <a:custGeom>
                <a:avLst/>
                <a:gdLst>
                  <a:gd name="T0" fmla="*/ 92 w 102"/>
                  <a:gd name="T1" fmla="*/ 26 h 929"/>
                  <a:gd name="T2" fmla="*/ 96 w 102"/>
                  <a:gd name="T3" fmla="*/ 90 h 929"/>
                  <a:gd name="T4" fmla="*/ 53 w 102"/>
                  <a:gd name="T5" fmla="*/ 116 h 929"/>
                  <a:gd name="T6" fmla="*/ 66 w 102"/>
                  <a:gd name="T7" fmla="*/ 187 h 929"/>
                  <a:gd name="T8" fmla="*/ 86 w 102"/>
                  <a:gd name="T9" fmla="*/ 256 h 929"/>
                  <a:gd name="T10" fmla="*/ 59 w 102"/>
                  <a:gd name="T11" fmla="*/ 290 h 929"/>
                  <a:gd name="T12" fmla="*/ 66 w 102"/>
                  <a:gd name="T13" fmla="*/ 348 h 929"/>
                  <a:gd name="T14" fmla="*/ 86 w 102"/>
                  <a:gd name="T15" fmla="*/ 410 h 929"/>
                  <a:gd name="T16" fmla="*/ 72 w 102"/>
                  <a:gd name="T17" fmla="*/ 456 h 929"/>
                  <a:gd name="T18" fmla="*/ 51 w 102"/>
                  <a:gd name="T19" fmla="*/ 497 h 929"/>
                  <a:gd name="T20" fmla="*/ 80 w 102"/>
                  <a:gd name="T21" fmla="*/ 578 h 929"/>
                  <a:gd name="T22" fmla="*/ 86 w 102"/>
                  <a:gd name="T23" fmla="*/ 633 h 929"/>
                  <a:gd name="T24" fmla="*/ 38 w 102"/>
                  <a:gd name="T25" fmla="*/ 671 h 929"/>
                  <a:gd name="T26" fmla="*/ 51 w 102"/>
                  <a:gd name="T27" fmla="*/ 753 h 929"/>
                  <a:gd name="T28" fmla="*/ 64 w 102"/>
                  <a:gd name="T29" fmla="*/ 823 h 929"/>
                  <a:gd name="T30" fmla="*/ 38 w 102"/>
                  <a:gd name="T31" fmla="*/ 864 h 929"/>
                  <a:gd name="T32" fmla="*/ 24 w 102"/>
                  <a:gd name="T33" fmla="*/ 921 h 929"/>
                  <a:gd name="T34" fmla="*/ 11 w 102"/>
                  <a:gd name="T35" fmla="*/ 897 h 929"/>
                  <a:gd name="T36" fmla="*/ 38 w 102"/>
                  <a:gd name="T37" fmla="*/ 832 h 929"/>
                  <a:gd name="T38" fmla="*/ 24 w 102"/>
                  <a:gd name="T39" fmla="*/ 736 h 929"/>
                  <a:gd name="T40" fmla="*/ 18 w 102"/>
                  <a:gd name="T41" fmla="*/ 665 h 929"/>
                  <a:gd name="T42" fmla="*/ 53 w 102"/>
                  <a:gd name="T43" fmla="*/ 617 h 929"/>
                  <a:gd name="T44" fmla="*/ 24 w 102"/>
                  <a:gd name="T45" fmla="*/ 548 h 929"/>
                  <a:gd name="T46" fmla="*/ 18 w 102"/>
                  <a:gd name="T47" fmla="*/ 484 h 929"/>
                  <a:gd name="T48" fmla="*/ 45 w 102"/>
                  <a:gd name="T49" fmla="*/ 432 h 929"/>
                  <a:gd name="T50" fmla="*/ 57 w 102"/>
                  <a:gd name="T51" fmla="*/ 394 h 929"/>
                  <a:gd name="T52" fmla="*/ 32 w 102"/>
                  <a:gd name="T53" fmla="*/ 329 h 929"/>
                  <a:gd name="T54" fmla="*/ 38 w 102"/>
                  <a:gd name="T55" fmla="*/ 275 h 929"/>
                  <a:gd name="T56" fmla="*/ 53 w 102"/>
                  <a:gd name="T57" fmla="*/ 236 h 929"/>
                  <a:gd name="T58" fmla="*/ 34 w 102"/>
                  <a:gd name="T59" fmla="*/ 179 h 929"/>
                  <a:gd name="T60" fmla="*/ 27 w 102"/>
                  <a:gd name="T61" fmla="*/ 114 h 929"/>
                  <a:gd name="T62" fmla="*/ 57 w 102"/>
                  <a:gd name="T63" fmla="*/ 71 h 929"/>
                  <a:gd name="T64" fmla="*/ 59 w 102"/>
                  <a:gd name="T65" fmla="*/ 30 h 929"/>
                  <a:gd name="T66" fmla="*/ 80 w 102"/>
                  <a:gd name="T67" fmla="*/ 0 h 9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2"/>
                  <a:gd name="T103" fmla="*/ 0 h 929"/>
                  <a:gd name="T104" fmla="*/ 102 w 102"/>
                  <a:gd name="T105" fmla="*/ 929 h 9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2" h="929">
                    <a:moveTo>
                      <a:pt x="80" y="0"/>
                    </a:moveTo>
                    <a:lnTo>
                      <a:pt x="92" y="26"/>
                    </a:lnTo>
                    <a:lnTo>
                      <a:pt x="102" y="71"/>
                    </a:lnTo>
                    <a:lnTo>
                      <a:pt x="96" y="90"/>
                    </a:lnTo>
                    <a:lnTo>
                      <a:pt x="70" y="103"/>
                    </a:lnTo>
                    <a:lnTo>
                      <a:pt x="53" y="116"/>
                    </a:lnTo>
                    <a:lnTo>
                      <a:pt x="53" y="152"/>
                    </a:lnTo>
                    <a:lnTo>
                      <a:pt x="66" y="187"/>
                    </a:lnTo>
                    <a:lnTo>
                      <a:pt x="83" y="211"/>
                    </a:lnTo>
                    <a:lnTo>
                      <a:pt x="86" y="256"/>
                    </a:lnTo>
                    <a:lnTo>
                      <a:pt x="77" y="271"/>
                    </a:lnTo>
                    <a:lnTo>
                      <a:pt x="59" y="290"/>
                    </a:lnTo>
                    <a:lnTo>
                      <a:pt x="57" y="320"/>
                    </a:lnTo>
                    <a:lnTo>
                      <a:pt x="66" y="348"/>
                    </a:lnTo>
                    <a:lnTo>
                      <a:pt x="80" y="372"/>
                    </a:lnTo>
                    <a:lnTo>
                      <a:pt x="86" y="410"/>
                    </a:lnTo>
                    <a:lnTo>
                      <a:pt x="86" y="432"/>
                    </a:lnTo>
                    <a:lnTo>
                      <a:pt x="72" y="456"/>
                    </a:lnTo>
                    <a:lnTo>
                      <a:pt x="51" y="478"/>
                    </a:lnTo>
                    <a:lnTo>
                      <a:pt x="51" y="497"/>
                    </a:lnTo>
                    <a:lnTo>
                      <a:pt x="57" y="554"/>
                    </a:lnTo>
                    <a:lnTo>
                      <a:pt x="80" y="578"/>
                    </a:lnTo>
                    <a:lnTo>
                      <a:pt x="92" y="604"/>
                    </a:lnTo>
                    <a:lnTo>
                      <a:pt x="86" y="633"/>
                    </a:lnTo>
                    <a:lnTo>
                      <a:pt x="53" y="652"/>
                    </a:lnTo>
                    <a:lnTo>
                      <a:pt x="38" y="671"/>
                    </a:lnTo>
                    <a:lnTo>
                      <a:pt x="34" y="707"/>
                    </a:lnTo>
                    <a:lnTo>
                      <a:pt x="51" y="753"/>
                    </a:lnTo>
                    <a:lnTo>
                      <a:pt x="64" y="798"/>
                    </a:lnTo>
                    <a:lnTo>
                      <a:pt x="64" y="823"/>
                    </a:lnTo>
                    <a:lnTo>
                      <a:pt x="57" y="858"/>
                    </a:lnTo>
                    <a:lnTo>
                      <a:pt x="38" y="864"/>
                    </a:lnTo>
                    <a:lnTo>
                      <a:pt x="24" y="891"/>
                    </a:lnTo>
                    <a:lnTo>
                      <a:pt x="24" y="921"/>
                    </a:lnTo>
                    <a:lnTo>
                      <a:pt x="0" y="929"/>
                    </a:lnTo>
                    <a:lnTo>
                      <a:pt x="11" y="897"/>
                    </a:lnTo>
                    <a:lnTo>
                      <a:pt x="32" y="858"/>
                    </a:lnTo>
                    <a:lnTo>
                      <a:pt x="38" y="832"/>
                    </a:lnTo>
                    <a:lnTo>
                      <a:pt x="38" y="780"/>
                    </a:lnTo>
                    <a:lnTo>
                      <a:pt x="24" y="736"/>
                    </a:lnTo>
                    <a:lnTo>
                      <a:pt x="21" y="701"/>
                    </a:lnTo>
                    <a:lnTo>
                      <a:pt x="18" y="665"/>
                    </a:lnTo>
                    <a:lnTo>
                      <a:pt x="40" y="636"/>
                    </a:lnTo>
                    <a:lnTo>
                      <a:pt x="53" y="617"/>
                    </a:lnTo>
                    <a:lnTo>
                      <a:pt x="45" y="578"/>
                    </a:lnTo>
                    <a:lnTo>
                      <a:pt x="24" y="548"/>
                    </a:lnTo>
                    <a:lnTo>
                      <a:pt x="21" y="522"/>
                    </a:lnTo>
                    <a:lnTo>
                      <a:pt x="18" y="484"/>
                    </a:lnTo>
                    <a:lnTo>
                      <a:pt x="27" y="458"/>
                    </a:lnTo>
                    <a:lnTo>
                      <a:pt x="45" y="432"/>
                    </a:lnTo>
                    <a:lnTo>
                      <a:pt x="57" y="413"/>
                    </a:lnTo>
                    <a:lnTo>
                      <a:pt x="57" y="394"/>
                    </a:lnTo>
                    <a:lnTo>
                      <a:pt x="45" y="372"/>
                    </a:lnTo>
                    <a:lnTo>
                      <a:pt x="32" y="329"/>
                    </a:lnTo>
                    <a:lnTo>
                      <a:pt x="32" y="301"/>
                    </a:lnTo>
                    <a:lnTo>
                      <a:pt x="38" y="275"/>
                    </a:lnTo>
                    <a:lnTo>
                      <a:pt x="51" y="256"/>
                    </a:lnTo>
                    <a:lnTo>
                      <a:pt x="53" y="236"/>
                    </a:lnTo>
                    <a:lnTo>
                      <a:pt x="51" y="212"/>
                    </a:lnTo>
                    <a:lnTo>
                      <a:pt x="34" y="179"/>
                    </a:lnTo>
                    <a:lnTo>
                      <a:pt x="24" y="155"/>
                    </a:lnTo>
                    <a:lnTo>
                      <a:pt x="27" y="114"/>
                    </a:lnTo>
                    <a:lnTo>
                      <a:pt x="40" y="97"/>
                    </a:lnTo>
                    <a:lnTo>
                      <a:pt x="57" y="71"/>
                    </a:lnTo>
                    <a:lnTo>
                      <a:pt x="66" y="49"/>
                    </a:lnTo>
                    <a:lnTo>
                      <a:pt x="59" y="30"/>
                    </a:lnTo>
                    <a:lnTo>
                      <a:pt x="64" y="11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" name="Freeform 409"/>
              <p:cNvSpPr>
                <a:spLocks/>
              </p:cNvSpPr>
              <p:nvPr/>
            </p:nvSpPr>
            <p:spPr bwMode="auto">
              <a:xfrm>
                <a:off x="4461" y="1526"/>
                <a:ext cx="59" cy="50"/>
              </a:xfrm>
              <a:custGeom>
                <a:avLst/>
                <a:gdLst>
                  <a:gd name="T0" fmla="*/ 233 w 233"/>
                  <a:gd name="T1" fmla="*/ 162 h 201"/>
                  <a:gd name="T2" fmla="*/ 163 w 233"/>
                  <a:gd name="T3" fmla="*/ 104 h 201"/>
                  <a:gd name="T4" fmla="*/ 104 w 233"/>
                  <a:gd name="T5" fmla="*/ 52 h 201"/>
                  <a:gd name="T6" fmla="*/ 50 w 233"/>
                  <a:gd name="T7" fmla="*/ 0 h 201"/>
                  <a:gd name="T8" fmla="*/ 0 w 233"/>
                  <a:gd name="T9" fmla="*/ 0 h 201"/>
                  <a:gd name="T10" fmla="*/ 117 w 233"/>
                  <a:gd name="T11" fmla="*/ 84 h 201"/>
                  <a:gd name="T12" fmla="*/ 173 w 233"/>
                  <a:gd name="T13" fmla="*/ 137 h 201"/>
                  <a:gd name="T14" fmla="*/ 220 w 233"/>
                  <a:gd name="T15" fmla="*/ 201 h 201"/>
                  <a:gd name="T16" fmla="*/ 233 w 233"/>
                  <a:gd name="T17" fmla="*/ 162 h 20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3"/>
                  <a:gd name="T28" fmla="*/ 0 h 201"/>
                  <a:gd name="T29" fmla="*/ 233 w 233"/>
                  <a:gd name="T30" fmla="*/ 201 h 20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3" h="201">
                    <a:moveTo>
                      <a:pt x="233" y="162"/>
                    </a:moveTo>
                    <a:lnTo>
                      <a:pt x="163" y="104"/>
                    </a:lnTo>
                    <a:lnTo>
                      <a:pt x="104" y="52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117" y="84"/>
                    </a:lnTo>
                    <a:lnTo>
                      <a:pt x="173" y="137"/>
                    </a:lnTo>
                    <a:lnTo>
                      <a:pt x="220" y="201"/>
                    </a:lnTo>
                    <a:lnTo>
                      <a:pt x="233" y="1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4" name="Freeform 410"/>
              <p:cNvSpPr>
                <a:spLocks/>
              </p:cNvSpPr>
              <p:nvPr/>
            </p:nvSpPr>
            <p:spPr bwMode="auto">
              <a:xfrm>
                <a:off x="4461" y="1555"/>
                <a:ext cx="50" cy="41"/>
              </a:xfrm>
              <a:custGeom>
                <a:avLst/>
                <a:gdLst>
                  <a:gd name="T0" fmla="*/ 201 w 201"/>
                  <a:gd name="T1" fmla="*/ 104 h 164"/>
                  <a:gd name="T2" fmla="*/ 149 w 201"/>
                  <a:gd name="T3" fmla="*/ 85 h 164"/>
                  <a:gd name="T4" fmla="*/ 111 w 201"/>
                  <a:gd name="T5" fmla="*/ 52 h 164"/>
                  <a:gd name="T6" fmla="*/ 40 w 201"/>
                  <a:gd name="T7" fmla="*/ 0 h 164"/>
                  <a:gd name="T8" fmla="*/ 0 w 201"/>
                  <a:gd name="T9" fmla="*/ 0 h 164"/>
                  <a:gd name="T10" fmla="*/ 91 w 201"/>
                  <a:gd name="T11" fmla="*/ 52 h 164"/>
                  <a:gd name="T12" fmla="*/ 126 w 201"/>
                  <a:gd name="T13" fmla="*/ 87 h 164"/>
                  <a:gd name="T14" fmla="*/ 201 w 201"/>
                  <a:gd name="T15" fmla="*/ 164 h 164"/>
                  <a:gd name="T16" fmla="*/ 197 w 201"/>
                  <a:gd name="T17" fmla="*/ 117 h 164"/>
                  <a:gd name="T18" fmla="*/ 201 w 201"/>
                  <a:gd name="T19" fmla="*/ 104 h 16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1"/>
                  <a:gd name="T31" fmla="*/ 0 h 164"/>
                  <a:gd name="T32" fmla="*/ 201 w 201"/>
                  <a:gd name="T33" fmla="*/ 164 h 16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1" h="164">
                    <a:moveTo>
                      <a:pt x="201" y="104"/>
                    </a:moveTo>
                    <a:lnTo>
                      <a:pt x="149" y="85"/>
                    </a:lnTo>
                    <a:lnTo>
                      <a:pt x="111" y="5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91" y="52"/>
                    </a:lnTo>
                    <a:lnTo>
                      <a:pt x="126" y="87"/>
                    </a:lnTo>
                    <a:lnTo>
                      <a:pt x="201" y="164"/>
                    </a:lnTo>
                    <a:lnTo>
                      <a:pt x="197" y="117"/>
                    </a:lnTo>
                    <a:lnTo>
                      <a:pt x="201" y="1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" name="Freeform 411"/>
              <p:cNvSpPr>
                <a:spLocks/>
              </p:cNvSpPr>
              <p:nvPr/>
            </p:nvSpPr>
            <p:spPr bwMode="auto">
              <a:xfrm>
                <a:off x="4453" y="1580"/>
                <a:ext cx="59" cy="63"/>
              </a:xfrm>
              <a:custGeom>
                <a:avLst/>
                <a:gdLst>
                  <a:gd name="T0" fmla="*/ 233 w 238"/>
                  <a:gd name="T1" fmla="*/ 188 h 253"/>
                  <a:gd name="T2" fmla="*/ 168 w 238"/>
                  <a:gd name="T3" fmla="*/ 131 h 253"/>
                  <a:gd name="T4" fmla="*/ 143 w 238"/>
                  <a:gd name="T5" fmla="*/ 91 h 253"/>
                  <a:gd name="T6" fmla="*/ 91 w 238"/>
                  <a:gd name="T7" fmla="*/ 53 h 253"/>
                  <a:gd name="T8" fmla="*/ 45 w 238"/>
                  <a:gd name="T9" fmla="*/ 19 h 253"/>
                  <a:gd name="T10" fmla="*/ 13 w 238"/>
                  <a:gd name="T11" fmla="*/ 0 h 253"/>
                  <a:gd name="T12" fmla="*/ 0 w 238"/>
                  <a:gd name="T13" fmla="*/ 0 h 253"/>
                  <a:gd name="T14" fmla="*/ 0 w 238"/>
                  <a:gd name="T15" fmla="*/ 19 h 253"/>
                  <a:gd name="T16" fmla="*/ 39 w 238"/>
                  <a:gd name="T17" fmla="*/ 44 h 253"/>
                  <a:gd name="T18" fmla="*/ 110 w 238"/>
                  <a:gd name="T19" fmla="*/ 90 h 253"/>
                  <a:gd name="T20" fmla="*/ 162 w 238"/>
                  <a:gd name="T21" fmla="*/ 141 h 253"/>
                  <a:gd name="T22" fmla="*/ 198 w 238"/>
                  <a:gd name="T23" fmla="*/ 199 h 253"/>
                  <a:gd name="T24" fmla="*/ 238 w 238"/>
                  <a:gd name="T25" fmla="*/ 253 h 253"/>
                  <a:gd name="T26" fmla="*/ 233 w 238"/>
                  <a:gd name="T27" fmla="*/ 188 h 25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8"/>
                  <a:gd name="T43" fmla="*/ 0 h 253"/>
                  <a:gd name="T44" fmla="*/ 238 w 238"/>
                  <a:gd name="T45" fmla="*/ 253 h 25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8" h="253">
                    <a:moveTo>
                      <a:pt x="233" y="188"/>
                    </a:moveTo>
                    <a:lnTo>
                      <a:pt x="168" y="131"/>
                    </a:lnTo>
                    <a:lnTo>
                      <a:pt x="143" y="91"/>
                    </a:lnTo>
                    <a:lnTo>
                      <a:pt x="91" y="53"/>
                    </a:lnTo>
                    <a:lnTo>
                      <a:pt x="45" y="19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19"/>
                    </a:lnTo>
                    <a:lnTo>
                      <a:pt x="39" y="44"/>
                    </a:lnTo>
                    <a:lnTo>
                      <a:pt x="110" y="90"/>
                    </a:lnTo>
                    <a:lnTo>
                      <a:pt x="162" y="141"/>
                    </a:lnTo>
                    <a:lnTo>
                      <a:pt x="198" y="199"/>
                    </a:lnTo>
                    <a:lnTo>
                      <a:pt x="238" y="253"/>
                    </a:lnTo>
                    <a:lnTo>
                      <a:pt x="233" y="1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" name="Freeform 412"/>
              <p:cNvSpPr>
                <a:spLocks/>
              </p:cNvSpPr>
              <p:nvPr/>
            </p:nvSpPr>
            <p:spPr bwMode="auto">
              <a:xfrm>
                <a:off x="4460" y="1632"/>
                <a:ext cx="45" cy="37"/>
              </a:xfrm>
              <a:custGeom>
                <a:avLst/>
                <a:gdLst>
                  <a:gd name="T0" fmla="*/ 183 w 183"/>
                  <a:gd name="T1" fmla="*/ 123 h 149"/>
                  <a:gd name="T2" fmla="*/ 131 w 183"/>
                  <a:gd name="T3" fmla="*/ 68 h 149"/>
                  <a:gd name="T4" fmla="*/ 77 w 183"/>
                  <a:gd name="T5" fmla="*/ 33 h 149"/>
                  <a:gd name="T6" fmla="*/ 33 w 183"/>
                  <a:gd name="T7" fmla="*/ 9 h 149"/>
                  <a:gd name="T8" fmla="*/ 0 w 183"/>
                  <a:gd name="T9" fmla="*/ 0 h 149"/>
                  <a:gd name="T10" fmla="*/ 19 w 183"/>
                  <a:gd name="T11" fmla="*/ 33 h 149"/>
                  <a:gd name="T12" fmla="*/ 77 w 183"/>
                  <a:gd name="T13" fmla="*/ 65 h 149"/>
                  <a:gd name="T14" fmla="*/ 123 w 183"/>
                  <a:gd name="T15" fmla="*/ 112 h 149"/>
                  <a:gd name="T16" fmla="*/ 144 w 183"/>
                  <a:gd name="T17" fmla="*/ 143 h 149"/>
                  <a:gd name="T18" fmla="*/ 164 w 183"/>
                  <a:gd name="T19" fmla="*/ 149 h 149"/>
                  <a:gd name="T20" fmla="*/ 180 w 183"/>
                  <a:gd name="T21" fmla="*/ 138 h 149"/>
                  <a:gd name="T22" fmla="*/ 183 w 183"/>
                  <a:gd name="T23" fmla="*/ 123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3"/>
                  <a:gd name="T37" fmla="*/ 0 h 149"/>
                  <a:gd name="T38" fmla="*/ 183 w 183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3" h="149">
                    <a:moveTo>
                      <a:pt x="183" y="123"/>
                    </a:moveTo>
                    <a:lnTo>
                      <a:pt x="131" y="68"/>
                    </a:lnTo>
                    <a:lnTo>
                      <a:pt x="77" y="33"/>
                    </a:lnTo>
                    <a:lnTo>
                      <a:pt x="33" y="9"/>
                    </a:lnTo>
                    <a:lnTo>
                      <a:pt x="0" y="0"/>
                    </a:lnTo>
                    <a:lnTo>
                      <a:pt x="19" y="33"/>
                    </a:lnTo>
                    <a:lnTo>
                      <a:pt x="77" y="65"/>
                    </a:lnTo>
                    <a:lnTo>
                      <a:pt x="123" y="112"/>
                    </a:lnTo>
                    <a:lnTo>
                      <a:pt x="144" y="143"/>
                    </a:lnTo>
                    <a:lnTo>
                      <a:pt x="164" y="149"/>
                    </a:lnTo>
                    <a:lnTo>
                      <a:pt x="180" y="138"/>
                    </a:lnTo>
                    <a:lnTo>
                      <a:pt x="183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" name="Freeform 413"/>
              <p:cNvSpPr>
                <a:spLocks/>
              </p:cNvSpPr>
              <p:nvPr/>
            </p:nvSpPr>
            <p:spPr bwMode="auto">
              <a:xfrm>
                <a:off x="4454" y="1658"/>
                <a:ext cx="50" cy="46"/>
              </a:xfrm>
              <a:custGeom>
                <a:avLst/>
                <a:gdLst>
                  <a:gd name="T0" fmla="*/ 202 w 202"/>
                  <a:gd name="T1" fmla="*/ 171 h 185"/>
                  <a:gd name="T2" fmla="*/ 151 w 202"/>
                  <a:gd name="T3" fmla="*/ 116 h 185"/>
                  <a:gd name="T4" fmla="*/ 86 w 202"/>
                  <a:gd name="T5" fmla="*/ 49 h 185"/>
                  <a:gd name="T6" fmla="*/ 47 w 202"/>
                  <a:gd name="T7" fmla="*/ 17 h 185"/>
                  <a:gd name="T8" fmla="*/ 17 w 202"/>
                  <a:gd name="T9" fmla="*/ 0 h 185"/>
                  <a:gd name="T10" fmla="*/ 0 w 202"/>
                  <a:gd name="T11" fmla="*/ 11 h 185"/>
                  <a:gd name="T12" fmla="*/ 35 w 202"/>
                  <a:gd name="T13" fmla="*/ 38 h 185"/>
                  <a:gd name="T14" fmla="*/ 93 w 202"/>
                  <a:gd name="T15" fmla="*/ 97 h 185"/>
                  <a:gd name="T16" fmla="*/ 147 w 202"/>
                  <a:gd name="T17" fmla="*/ 155 h 185"/>
                  <a:gd name="T18" fmla="*/ 183 w 202"/>
                  <a:gd name="T19" fmla="*/ 185 h 185"/>
                  <a:gd name="T20" fmla="*/ 191 w 202"/>
                  <a:gd name="T21" fmla="*/ 185 h 185"/>
                  <a:gd name="T22" fmla="*/ 202 w 202"/>
                  <a:gd name="T23" fmla="*/ 171 h 1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2"/>
                  <a:gd name="T37" fmla="*/ 0 h 185"/>
                  <a:gd name="T38" fmla="*/ 202 w 202"/>
                  <a:gd name="T39" fmla="*/ 185 h 1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2" h="185">
                    <a:moveTo>
                      <a:pt x="202" y="171"/>
                    </a:moveTo>
                    <a:lnTo>
                      <a:pt x="151" y="116"/>
                    </a:lnTo>
                    <a:lnTo>
                      <a:pt x="86" y="49"/>
                    </a:lnTo>
                    <a:lnTo>
                      <a:pt x="47" y="17"/>
                    </a:lnTo>
                    <a:lnTo>
                      <a:pt x="17" y="0"/>
                    </a:lnTo>
                    <a:lnTo>
                      <a:pt x="0" y="11"/>
                    </a:lnTo>
                    <a:lnTo>
                      <a:pt x="35" y="38"/>
                    </a:lnTo>
                    <a:lnTo>
                      <a:pt x="93" y="97"/>
                    </a:lnTo>
                    <a:lnTo>
                      <a:pt x="147" y="155"/>
                    </a:lnTo>
                    <a:lnTo>
                      <a:pt x="183" y="185"/>
                    </a:lnTo>
                    <a:lnTo>
                      <a:pt x="191" y="185"/>
                    </a:lnTo>
                    <a:lnTo>
                      <a:pt x="202" y="17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8" name="Freeform 414"/>
              <p:cNvSpPr>
                <a:spLocks/>
              </p:cNvSpPr>
              <p:nvPr/>
            </p:nvSpPr>
            <p:spPr bwMode="auto">
              <a:xfrm>
                <a:off x="4460" y="1696"/>
                <a:ext cx="35" cy="37"/>
              </a:xfrm>
              <a:custGeom>
                <a:avLst/>
                <a:gdLst>
                  <a:gd name="T0" fmla="*/ 140 w 142"/>
                  <a:gd name="T1" fmla="*/ 122 h 146"/>
                  <a:gd name="T2" fmla="*/ 82 w 142"/>
                  <a:gd name="T3" fmla="*/ 37 h 146"/>
                  <a:gd name="T4" fmla="*/ 26 w 142"/>
                  <a:gd name="T5" fmla="*/ 4 h 146"/>
                  <a:gd name="T6" fmla="*/ 0 w 142"/>
                  <a:gd name="T7" fmla="*/ 0 h 146"/>
                  <a:gd name="T8" fmla="*/ 6 w 142"/>
                  <a:gd name="T9" fmla="*/ 16 h 146"/>
                  <a:gd name="T10" fmla="*/ 71 w 142"/>
                  <a:gd name="T11" fmla="*/ 65 h 146"/>
                  <a:gd name="T12" fmla="*/ 134 w 142"/>
                  <a:gd name="T13" fmla="*/ 140 h 146"/>
                  <a:gd name="T14" fmla="*/ 142 w 142"/>
                  <a:gd name="T15" fmla="*/ 146 h 146"/>
                  <a:gd name="T16" fmla="*/ 140 w 142"/>
                  <a:gd name="T17" fmla="*/ 122 h 14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2"/>
                  <a:gd name="T28" fmla="*/ 0 h 146"/>
                  <a:gd name="T29" fmla="*/ 142 w 142"/>
                  <a:gd name="T30" fmla="*/ 146 h 14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2" h="146">
                    <a:moveTo>
                      <a:pt x="140" y="122"/>
                    </a:moveTo>
                    <a:lnTo>
                      <a:pt x="82" y="37"/>
                    </a:lnTo>
                    <a:lnTo>
                      <a:pt x="26" y="4"/>
                    </a:lnTo>
                    <a:lnTo>
                      <a:pt x="0" y="0"/>
                    </a:lnTo>
                    <a:lnTo>
                      <a:pt x="6" y="16"/>
                    </a:lnTo>
                    <a:lnTo>
                      <a:pt x="71" y="65"/>
                    </a:lnTo>
                    <a:lnTo>
                      <a:pt x="134" y="140"/>
                    </a:lnTo>
                    <a:lnTo>
                      <a:pt x="142" y="146"/>
                    </a:lnTo>
                    <a:lnTo>
                      <a:pt x="140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9" name="Freeform 415"/>
              <p:cNvSpPr>
                <a:spLocks/>
              </p:cNvSpPr>
              <p:nvPr/>
            </p:nvSpPr>
            <p:spPr bwMode="auto">
              <a:xfrm>
                <a:off x="4461" y="1732"/>
                <a:ext cx="24" cy="28"/>
              </a:xfrm>
              <a:custGeom>
                <a:avLst/>
                <a:gdLst>
                  <a:gd name="T0" fmla="*/ 94 w 97"/>
                  <a:gd name="T1" fmla="*/ 84 h 110"/>
                  <a:gd name="T2" fmla="*/ 46 w 97"/>
                  <a:gd name="T3" fmla="*/ 19 h 110"/>
                  <a:gd name="T4" fmla="*/ 2 w 97"/>
                  <a:gd name="T5" fmla="*/ 0 h 110"/>
                  <a:gd name="T6" fmla="*/ 0 w 97"/>
                  <a:gd name="T7" fmla="*/ 19 h 110"/>
                  <a:gd name="T8" fmla="*/ 20 w 97"/>
                  <a:gd name="T9" fmla="*/ 51 h 110"/>
                  <a:gd name="T10" fmla="*/ 72 w 97"/>
                  <a:gd name="T11" fmla="*/ 94 h 110"/>
                  <a:gd name="T12" fmla="*/ 87 w 97"/>
                  <a:gd name="T13" fmla="*/ 110 h 110"/>
                  <a:gd name="T14" fmla="*/ 97 w 97"/>
                  <a:gd name="T15" fmla="*/ 103 h 110"/>
                  <a:gd name="T16" fmla="*/ 94 w 97"/>
                  <a:gd name="T17" fmla="*/ 84 h 1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7"/>
                  <a:gd name="T28" fmla="*/ 0 h 110"/>
                  <a:gd name="T29" fmla="*/ 97 w 97"/>
                  <a:gd name="T30" fmla="*/ 110 h 11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7" h="110">
                    <a:moveTo>
                      <a:pt x="94" y="84"/>
                    </a:moveTo>
                    <a:lnTo>
                      <a:pt x="46" y="19"/>
                    </a:lnTo>
                    <a:lnTo>
                      <a:pt x="2" y="0"/>
                    </a:lnTo>
                    <a:lnTo>
                      <a:pt x="0" y="19"/>
                    </a:lnTo>
                    <a:lnTo>
                      <a:pt x="20" y="51"/>
                    </a:lnTo>
                    <a:lnTo>
                      <a:pt x="72" y="94"/>
                    </a:lnTo>
                    <a:lnTo>
                      <a:pt x="87" y="110"/>
                    </a:lnTo>
                    <a:lnTo>
                      <a:pt x="97" y="103"/>
                    </a:lnTo>
                    <a:lnTo>
                      <a:pt x="94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Freeform 416"/>
              <p:cNvSpPr>
                <a:spLocks/>
              </p:cNvSpPr>
              <p:nvPr/>
            </p:nvSpPr>
            <p:spPr bwMode="auto">
              <a:xfrm>
                <a:off x="4463" y="1768"/>
                <a:ext cx="30" cy="32"/>
              </a:xfrm>
              <a:custGeom>
                <a:avLst/>
                <a:gdLst>
                  <a:gd name="T0" fmla="*/ 123 w 123"/>
                  <a:gd name="T1" fmla="*/ 125 h 125"/>
                  <a:gd name="T2" fmla="*/ 106 w 123"/>
                  <a:gd name="T3" fmla="*/ 105 h 125"/>
                  <a:gd name="T4" fmla="*/ 71 w 123"/>
                  <a:gd name="T5" fmla="*/ 54 h 125"/>
                  <a:gd name="T6" fmla="*/ 22 w 123"/>
                  <a:gd name="T7" fmla="*/ 0 h 125"/>
                  <a:gd name="T8" fmla="*/ 0 w 123"/>
                  <a:gd name="T9" fmla="*/ 0 h 125"/>
                  <a:gd name="T10" fmla="*/ 9 w 123"/>
                  <a:gd name="T11" fmla="*/ 19 h 125"/>
                  <a:gd name="T12" fmla="*/ 47 w 123"/>
                  <a:gd name="T13" fmla="*/ 71 h 125"/>
                  <a:gd name="T14" fmla="*/ 86 w 123"/>
                  <a:gd name="T15" fmla="*/ 122 h 125"/>
                  <a:gd name="T16" fmla="*/ 123 w 123"/>
                  <a:gd name="T17" fmla="*/ 125 h 1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125"/>
                  <a:gd name="T29" fmla="*/ 123 w 123"/>
                  <a:gd name="T30" fmla="*/ 125 h 1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125">
                    <a:moveTo>
                      <a:pt x="123" y="125"/>
                    </a:moveTo>
                    <a:lnTo>
                      <a:pt x="106" y="105"/>
                    </a:lnTo>
                    <a:lnTo>
                      <a:pt x="71" y="54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9" y="19"/>
                    </a:lnTo>
                    <a:lnTo>
                      <a:pt x="47" y="71"/>
                    </a:lnTo>
                    <a:lnTo>
                      <a:pt x="86" y="122"/>
                    </a:lnTo>
                    <a:lnTo>
                      <a:pt x="123" y="1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1" name="Freeform 417"/>
              <p:cNvSpPr>
                <a:spLocks/>
              </p:cNvSpPr>
              <p:nvPr/>
            </p:nvSpPr>
            <p:spPr bwMode="auto">
              <a:xfrm>
                <a:off x="4504" y="1509"/>
                <a:ext cx="94" cy="347"/>
              </a:xfrm>
              <a:custGeom>
                <a:avLst/>
                <a:gdLst>
                  <a:gd name="T0" fmla="*/ 54 w 375"/>
                  <a:gd name="T1" fmla="*/ 171 h 1390"/>
                  <a:gd name="T2" fmla="*/ 67 w 375"/>
                  <a:gd name="T3" fmla="*/ 248 h 1390"/>
                  <a:gd name="T4" fmla="*/ 35 w 375"/>
                  <a:gd name="T5" fmla="*/ 299 h 1390"/>
                  <a:gd name="T6" fmla="*/ 39 w 375"/>
                  <a:gd name="T7" fmla="*/ 370 h 1390"/>
                  <a:gd name="T8" fmla="*/ 58 w 375"/>
                  <a:gd name="T9" fmla="*/ 429 h 1390"/>
                  <a:gd name="T10" fmla="*/ 28 w 375"/>
                  <a:gd name="T11" fmla="*/ 486 h 1390"/>
                  <a:gd name="T12" fmla="*/ 60 w 375"/>
                  <a:gd name="T13" fmla="*/ 587 h 1390"/>
                  <a:gd name="T14" fmla="*/ 22 w 375"/>
                  <a:gd name="T15" fmla="*/ 671 h 1390"/>
                  <a:gd name="T16" fmla="*/ 41 w 375"/>
                  <a:gd name="T17" fmla="*/ 755 h 1390"/>
                  <a:gd name="T18" fmla="*/ 52 w 375"/>
                  <a:gd name="T19" fmla="*/ 815 h 1390"/>
                  <a:gd name="T20" fmla="*/ 13 w 375"/>
                  <a:gd name="T21" fmla="*/ 867 h 1390"/>
                  <a:gd name="T22" fmla="*/ 35 w 375"/>
                  <a:gd name="T23" fmla="*/ 975 h 1390"/>
                  <a:gd name="T24" fmla="*/ 33 w 375"/>
                  <a:gd name="T25" fmla="*/ 1033 h 1390"/>
                  <a:gd name="T26" fmla="*/ 0 w 375"/>
                  <a:gd name="T27" fmla="*/ 1105 h 1390"/>
                  <a:gd name="T28" fmla="*/ 19 w 375"/>
                  <a:gd name="T29" fmla="*/ 1165 h 1390"/>
                  <a:gd name="T30" fmla="*/ 22 w 375"/>
                  <a:gd name="T31" fmla="*/ 1220 h 1390"/>
                  <a:gd name="T32" fmla="*/ 28 w 375"/>
                  <a:gd name="T33" fmla="*/ 1279 h 1390"/>
                  <a:gd name="T34" fmla="*/ 54 w 375"/>
                  <a:gd name="T35" fmla="*/ 1330 h 1390"/>
                  <a:gd name="T36" fmla="*/ 58 w 375"/>
                  <a:gd name="T37" fmla="*/ 1390 h 1390"/>
                  <a:gd name="T38" fmla="*/ 142 w 375"/>
                  <a:gd name="T39" fmla="*/ 1339 h 1390"/>
                  <a:gd name="T40" fmla="*/ 242 w 375"/>
                  <a:gd name="T41" fmla="*/ 1325 h 1390"/>
                  <a:gd name="T42" fmla="*/ 310 w 375"/>
                  <a:gd name="T43" fmla="*/ 1298 h 1390"/>
                  <a:gd name="T44" fmla="*/ 332 w 375"/>
                  <a:gd name="T45" fmla="*/ 1259 h 1390"/>
                  <a:gd name="T46" fmla="*/ 339 w 375"/>
                  <a:gd name="T47" fmla="*/ 1181 h 1390"/>
                  <a:gd name="T48" fmla="*/ 323 w 375"/>
                  <a:gd name="T49" fmla="*/ 1081 h 1390"/>
                  <a:gd name="T50" fmla="*/ 306 w 375"/>
                  <a:gd name="T51" fmla="*/ 1027 h 1390"/>
                  <a:gd name="T52" fmla="*/ 317 w 375"/>
                  <a:gd name="T53" fmla="*/ 962 h 1390"/>
                  <a:gd name="T54" fmla="*/ 286 w 375"/>
                  <a:gd name="T55" fmla="*/ 891 h 1390"/>
                  <a:gd name="T56" fmla="*/ 329 w 375"/>
                  <a:gd name="T57" fmla="*/ 836 h 1390"/>
                  <a:gd name="T58" fmla="*/ 297 w 375"/>
                  <a:gd name="T59" fmla="*/ 755 h 1390"/>
                  <a:gd name="T60" fmla="*/ 280 w 375"/>
                  <a:gd name="T61" fmla="*/ 680 h 1390"/>
                  <a:gd name="T62" fmla="*/ 345 w 375"/>
                  <a:gd name="T63" fmla="*/ 622 h 1390"/>
                  <a:gd name="T64" fmla="*/ 323 w 375"/>
                  <a:gd name="T65" fmla="*/ 581 h 1390"/>
                  <a:gd name="T66" fmla="*/ 323 w 375"/>
                  <a:gd name="T67" fmla="*/ 510 h 1390"/>
                  <a:gd name="T68" fmla="*/ 293 w 375"/>
                  <a:gd name="T69" fmla="*/ 465 h 1390"/>
                  <a:gd name="T70" fmla="*/ 317 w 375"/>
                  <a:gd name="T71" fmla="*/ 410 h 1390"/>
                  <a:gd name="T72" fmla="*/ 297 w 375"/>
                  <a:gd name="T73" fmla="*/ 364 h 1390"/>
                  <a:gd name="T74" fmla="*/ 297 w 375"/>
                  <a:gd name="T75" fmla="*/ 326 h 1390"/>
                  <a:gd name="T76" fmla="*/ 318 w 375"/>
                  <a:gd name="T77" fmla="*/ 291 h 1390"/>
                  <a:gd name="T78" fmla="*/ 291 w 375"/>
                  <a:gd name="T79" fmla="*/ 245 h 1390"/>
                  <a:gd name="T80" fmla="*/ 286 w 375"/>
                  <a:gd name="T81" fmla="*/ 181 h 1390"/>
                  <a:gd name="T82" fmla="*/ 358 w 375"/>
                  <a:gd name="T83" fmla="*/ 99 h 1390"/>
                  <a:gd name="T84" fmla="*/ 375 w 375"/>
                  <a:gd name="T85" fmla="*/ 13 h 1390"/>
                  <a:gd name="T86" fmla="*/ 332 w 375"/>
                  <a:gd name="T87" fmla="*/ 13 h 1390"/>
                  <a:gd name="T88" fmla="*/ 207 w 375"/>
                  <a:gd name="T89" fmla="*/ 79 h 1390"/>
                  <a:gd name="T90" fmla="*/ 103 w 375"/>
                  <a:gd name="T91" fmla="*/ 119 h 139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1390"/>
                  <a:gd name="T140" fmla="*/ 375 w 375"/>
                  <a:gd name="T141" fmla="*/ 1390 h 139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1390">
                    <a:moveTo>
                      <a:pt x="67" y="131"/>
                    </a:moveTo>
                    <a:lnTo>
                      <a:pt x="54" y="171"/>
                    </a:lnTo>
                    <a:lnTo>
                      <a:pt x="65" y="209"/>
                    </a:lnTo>
                    <a:lnTo>
                      <a:pt x="67" y="248"/>
                    </a:lnTo>
                    <a:lnTo>
                      <a:pt x="54" y="272"/>
                    </a:lnTo>
                    <a:lnTo>
                      <a:pt x="35" y="299"/>
                    </a:lnTo>
                    <a:lnTo>
                      <a:pt x="27" y="342"/>
                    </a:lnTo>
                    <a:lnTo>
                      <a:pt x="39" y="370"/>
                    </a:lnTo>
                    <a:lnTo>
                      <a:pt x="58" y="402"/>
                    </a:lnTo>
                    <a:lnTo>
                      <a:pt x="58" y="429"/>
                    </a:lnTo>
                    <a:lnTo>
                      <a:pt x="46" y="454"/>
                    </a:lnTo>
                    <a:lnTo>
                      <a:pt x="28" y="486"/>
                    </a:lnTo>
                    <a:lnTo>
                      <a:pt x="35" y="519"/>
                    </a:lnTo>
                    <a:lnTo>
                      <a:pt x="60" y="587"/>
                    </a:lnTo>
                    <a:lnTo>
                      <a:pt x="58" y="616"/>
                    </a:lnTo>
                    <a:lnTo>
                      <a:pt x="22" y="671"/>
                    </a:lnTo>
                    <a:lnTo>
                      <a:pt x="22" y="719"/>
                    </a:lnTo>
                    <a:lnTo>
                      <a:pt x="41" y="755"/>
                    </a:lnTo>
                    <a:lnTo>
                      <a:pt x="54" y="788"/>
                    </a:lnTo>
                    <a:lnTo>
                      <a:pt x="52" y="815"/>
                    </a:lnTo>
                    <a:lnTo>
                      <a:pt x="19" y="845"/>
                    </a:lnTo>
                    <a:lnTo>
                      <a:pt x="13" y="867"/>
                    </a:lnTo>
                    <a:lnTo>
                      <a:pt x="19" y="919"/>
                    </a:lnTo>
                    <a:lnTo>
                      <a:pt x="35" y="975"/>
                    </a:lnTo>
                    <a:lnTo>
                      <a:pt x="35" y="1007"/>
                    </a:lnTo>
                    <a:lnTo>
                      <a:pt x="33" y="1033"/>
                    </a:lnTo>
                    <a:lnTo>
                      <a:pt x="9" y="1072"/>
                    </a:lnTo>
                    <a:lnTo>
                      <a:pt x="0" y="1105"/>
                    </a:lnTo>
                    <a:lnTo>
                      <a:pt x="3" y="1138"/>
                    </a:lnTo>
                    <a:lnTo>
                      <a:pt x="19" y="1165"/>
                    </a:lnTo>
                    <a:lnTo>
                      <a:pt x="39" y="1187"/>
                    </a:lnTo>
                    <a:lnTo>
                      <a:pt x="22" y="1220"/>
                    </a:lnTo>
                    <a:lnTo>
                      <a:pt x="13" y="1252"/>
                    </a:lnTo>
                    <a:lnTo>
                      <a:pt x="28" y="1279"/>
                    </a:lnTo>
                    <a:lnTo>
                      <a:pt x="52" y="1298"/>
                    </a:lnTo>
                    <a:lnTo>
                      <a:pt x="54" y="1330"/>
                    </a:lnTo>
                    <a:lnTo>
                      <a:pt x="54" y="1355"/>
                    </a:lnTo>
                    <a:lnTo>
                      <a:pt x="58" y="1390"/>
                    </a:lnTo>
                    <a:lnTo>
                      <a:pt x="99" y="1363"/>
                    </a:lnTo>
                    <a:lnTo>
                      <a:pt x="142" y="1339"/>
                    </a:lnTo>
                    <a:lnTo>
                      <a:pt x="182" y="1325"/>
                    </a:lnTo>
                    <a:lnTo>
                      <a:pt x="242" y="1325"/>
                    </a:lnTo>
                    <a:lnTo>
                      <a:pt x="285" y="1319"/>
                    </a:lnTo>
                    <a:lnTo>
                      <a:pt x="310" y="1298"/>
                    </a:lnTo>
                    <a:lnTo>
                      <a:pt x="356" y="1285"/>
                    </a:lnTo>
                    <a:lnTo>
                      <a:pt x="332" y="1259"/>
                    </a:lnTo>
                    <a:lnTo>
                      <a:pt x="323" y="1222"/>
                    </a:lnTo>
                    <a:lnTo>
                      <a:pt x="339" y="1181"/>
                    </a:lnTo>
                    <a:lnTo>
                      <a:pt x="336" y="1124"/>
                    </a:lnTo>
                    <a:lnTo>
                      <a:pt x="323" y="1081"/>
                    </a:lnTo>
                    <a:lnTo>
                      <a:pt x="310" y="1059"/>
                    </a:lnTo>
                    <a:lnTo>
                      <a:pt x="306" y="1027"/>
                    </a:lnTo>
                    <a:lnTo>
                      <a:pt x="323" y="988"/>
                    </a:lnTo>
                    <a:lnTo>
                      <a:pt x="317" y="962"/>
                    </a:lnTo>
                    <a:lnTo>
                      <a:pt x="285" y="917"/>
                    </a:lnTo>
                    <a:lnTo>
                      <a:pt x="286" y="891"/>
                    </a:lnTo>
                    <a:lnTo>
                      <a:pt x="299" y="867"/>
                    </a:lnTo>
                    <a:lnTo>
                      <a:pt x="329" y="836"/>
                    </a:lnTo>
                    <a:lnTo>
                      <a:pt x="318" y="809"/>
                    </a:lnTo>
                    <a:lnTo>
                      <a:pt x="297" y="755"/>
                    </a:lnTo>
                    <a:lnTo>
                      <a:pt x="280" y="719"/>
                    </a:lnTo>
                    <a:lnTo>
                      <a:pt x="280" y="680"/>
                    </a:lnTo>
                    <a:lnTo>
                      <a:pt x="339" y="659"/>
                    </a:lnTo>
                    <a:lnTo>
                      <a:pt x="345" y="622"/>
                    </a:lnTo>
                    <a:lnTo>
                      <a:pt x="339" y="600"/>
                    </a:lnTo>
                    <a:lnTo>
                      <a:pt x="323" y="581"/>
                    </a:lnTo>
                    <a:lnTo>
                      <a:pt x="326" y="549"/>
                    </a:lnTo>
                    <a:lnTo>
                      <a:pt x="323" y="510"/>
                    </a:lnTo>
                    <a:lnTo>
                      <a:pt x="306" y="491"/>
                    </a:lnTo>
                    <a:lnTo>
                      <a:pt x="293" y="465"/>
                    </a:lnTo>
                    <a:lnTo>
                      <a:pt x="304" y="440"/>
                    </a:lnTo>
                    <a:lnTo>
                      <a:pt x="317" y="410"/>
                    </a:lnTo>
                    <a:lnTo>
                      <a:pt x="317" y="389"/>
                    </a:lnTo>
                    <a:lnTo>
                      <a:pt x="297" y="364"/>
                    </a:lnTo>
                    <a:lnTo>
                      <a:pt x="291" y="342"/>
                    </a:lnTo>
                    <a:lnTo>
                      <a:pt x="297" y="326"/>
                    </a:lnTo>
                    <a:lnTo>
                      <a:pt x="317" y="312"/>
                    </a:lnTo>
                    <a:lnTo>
                      <a:pt x="318" y="291"/>
                    </a:lnTo>
                    <a:lnTo>
                      <a:pt x="312" y="278"/>
                    </a:lnTo>
                    <a:lnTo>
                      <a:pt x="291" y="245"/>
                    </a:lnTo>
                    <a:lnTo>
                      <a:pt x="285" y="209"/>
                    </a:lnTo>
                    <a:lnTo>
                      <a:pt x="286" y="181"/>
                    </a:lnTo>
                    <a:lnTo>
                      <a:pt x="306" y="155"/>
                    </a:lnTo>
                    <a:lnTo>
                      <a:pt x="358" y="99"/>
                    </a:lnTo>
                    <a:lnTo>
                      <a:pt x="375" y="52"/>
                    </a:lnTo>
                    <a:lnTo>
                      <a:pt x="375" y="13"/>
                    </a:lnTo>
                    <a:lnTo>
                      <a:pt x="358" y="0"/>
                    </a:lnTo>
                    <a:lnTo>
                      <a:pt x="332" y="13"/>
                    </a:lnTo>
                    <a:lnTo>
                      <a:pt x="267" y="54"/>
                    </a:lnTo>
                    <a:lnTo>
                      <a:pt x="207" y="79"/>
                    </a:lnTo>
                    <a:lnTo>
                      <a:pt x="144" y="106"/>
                    </a:lnTo>
                    <a:lnTo>
                      <a:pt x="103" y="119"/>
                    </a:lnTo>
                    <a:lnTo>
                      <a:pt x="67" y="1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Freeform 418"/>
              <p:cNvSpPr>
                <a:spLocks/>
              </p:cNvSpPr>
              <p:nvPr/>
            </p:nvSpPr>
            <p:spPr bwMode="auto">
              <a:xfrm>
                <a:off x="4439" y="1506"/>
                <a:ext cx="167" cy="355"/>
              </a:xfrm>
              <a:custGeom>
                <a:avLst/>
                <a:gdLst>
                  <a:gd name="T0" fmla="*/ 438 w 669"/>
                  <a:gd name="T1" fmla="*/ 1335 h 1422"/>
                  <a:gd name="T2" fmla="*/ 309 w 669"/>
                  <a:gd name="T3" fmla="*/ 1381 h 1422"/>
                  <a:gd name="T4" fmla="*/ 54 w 669"/>
                  <a:gd name="T5" fmla="*/ 1150 h 1422"/>
                  <a:gd name="T6" fmla="*/ 41 w 669"/>
                  <a:gd name="T7" fmla="*/ 1189 h 1422"/>
                  <a:gd name="T8" fmla="*/ 317 w 669"/>
                  <a:gd name="T9" fmla="*/ 1422 h 1422"/>
                  <a:gd name="T10" fmla="*/ 451 w 669"/>
                  <a:gd name="T11" fmla="*/ 1351 h 1422"/>
                  <a:gd name="T12" fmla="*/ 633 w 669"/>
                  <a:gd name="T13" fmla="*/ 1291 h 1422"/>
                  <a:gd name="T14" fmla="*/ 625 w 669"/>
                  <a:gd name="T15" fmla="*/ 1189 h 1422"/>
                  <a:gd name="T16" fmla="*/ 588 w 669"/>
                  <a:gd name="T17" fmla="*/ 1077 h 1422"/>
                  <a:gd name="T18" fmla="*/ 606 w 669"/>
                  <a:gd name="T19" fmla="*/ 987 h 1422"/>
                  <a:gd name="T20" fmla="*/ 566 w 669"/>
                  <a:gd name="T21" fmla="*/ 900 h 1422"/>
                  <a:gd name="T22" fmla="*/ 586 w 669"/>
                  <a:gd name="T23" fmla="*/ 796 h 1422"/>
                  <a:gd name="T24" fmla="*/ 601 w 669"/>
                  <a:gd name="T25" fmla="*/ 693 h 1422"/>
                  <a:gd name="T26" fmla="*/ 606 w 669"/>
                  <a:gd name="T27" fmla="*/ 563 h 1422"/>
                  <a:gd name="T28" fmla="*/ 579 w 669"/>
                  <a:gd name="T29" fmla="*/ 454 h 1422"/>
                  <a:gd name="T30" fmla="*/ 566 w 669"/>
                  <a:gd name="T31" fmla="*/ 368 h 1422"/>
                  <a:gd name="T32" fmla="*/ 598 w 669"/>
                  <a:gd name="T33" fmla="*/ 293 h 1422"/>
                  <a:gd name="T34" fmla="*/ 582 w 669"/>
                  <a:gd name="T35" fmla="*/ 168 h 1422"/>
                  <a:gd name="T36" fmla="*/ 663 w 669"/>
                  <a:gd name="T37" fmla="*/ 15 h 1422"/>
                  <a:gd name="T38" fmla="*/ 627 w 669"/>
                  <a:gd name="T39" fmla="*/ 47 h 1422"/>
                  <a:gd name="T40" fmla="*/ 543 w 669"/>
                  <a:gd name="T41" fmla="*/ 188 h 1422"/>
                  <a:gd name="T42" fmla="*/ 421 w 669"/>
                  <a:gd name="T43" fmla="*/ 303 h 1422"/>
                  <a:gd name="T44" fmla="*/ 547 w 669"/>
                  <a:gd name="T45" fmla="*/ 261 h 1422"/>
                  <a:gd name="T46" fmla="*/ 536 w 669"/>
                  <a:gd name="T47" fmla="*/ 343 h 1422"/>
                  <a:gd name="T48" fmla="*/ 476 w 669"/>
                  <a:gd name="T49" fmla="*/ 428 h 1422"/>
                  <a:gd name="T50" fmla="*/ 562 w 669"/>
                  <a:gd name="T51" fmla="*/ 409 h 1422"/>
                  <a:gd name="T52" fmla="*/ 541 w 669"/>
                  <a:gd name="T53" fmla="*/ 473 h 1422"/>
                  <a:gd name="T54" fmla="*/ 535 w 669"/>
                  <a:gd name="T55" fmla="*/ 544 h 1422"/>
                  <a:gd name="T56" fmla="*/ 408 w 669"/>
                  <a:gd name="T57" fmla="*/ 639 h 1422"/>
                  <a:gd name="T58" fmla="*/ 549 w 669"/>
                  <a:gd name="T59" fmla="*/ 574 h 1422"/>
                  <a:gd name="T60" fmla="*/ 601 w 669"/>
                  <a:gd name="T61" fmla="*/ 639 h 1422"/>
                  <a:gd name="T62" fmla="*/ 514 w 669"/>
                  <a:gd name="T63" fmla="*/ 699 h 1422"/>
                  <a:gd name="T64" fmla="*/ 356 w 669"/>
                  <a:gd name="T65" fmla="*/ 777 h 1422"/>
                  <a:gd name="T66" fmla="*/ 536 w 669"/>
                  <a:gd name="T67" fmla="*/ 745 h 1422"/>
                  <a:gd name="T68" fmla="*/ 573 w 669"/>
                  <a:gd name="T69" fmla="*/ 865 h 1422"/>
                  <a:gd name="T70" fmla="*/ 359 w 669"/>
                  <a:gd name="T71" fmla="*/ 922 h 1422"/>
                  <a:gd name="T72" fmla="*/ 476 w 669"/>
                  <a:gd name="T73" fmla="*/ 919 h 1422"/>
                  <a:gd name="T74" fmla="*/ 549 w 669"/>
                  <a:gd name="T75" fmla="*/ 955 h 1422"/>
                  <a:gd name="T76" fmla="*/ 547 w 669"/>
                  <a:gd name="T77" fmla="*/ 1026 h 1422"/>
                  <a:gd name="T78" fmla="*/ 343 w 669"/>
                  <a:gd name="T79" fmla="*/ 1066 h 1422"/>
                  <a:gd name="T80" fmla="*/ 444 w 669"/>
                  <a:gd name="T81" fmla="*/ 1066 h 1422"/>
                  <a:gd name="T82" fmla="*/ 560 w 669"/>
                  <a:gd name="T83" fmla="*/ 1047 h 1422"/>
                  <a:gd name="T84" fmla="*/ 459 w 669"/>
                  <a:gd name="T85" fmla="*/ 1144 h 1422"/>
                  <a:gd name="T86" fmla="*/ 343 w 669"/>
                  <a:gd name="T87" fmla="*/ 1200 h 1422"/>
                  <a:gd name="T88" fmla="*/ 489 w 669"/>
                  <a:gd name="T89" fmla="*/ 1148 h 1422"/>
                  <a:gd name="T90" fmla="*/ 576 w 669"/>
                  <a:gd name="T91" fmla="*/ 1129 h 1422"/>
                  <a:gd name="T92" fmla="*/ 573 w 669"/>
                  <a:gd name="T93" fmla="*/ 1213 h 1422"/>
                  <a:gd name="T94" fmla="*/ 586 w 669"/>
                  <a:gd name="T95" fmla="*/ 1284 h 142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9"/>
                  <a:gd name="T145" fmla="*/ 0 h 1422"/>
                  <a:gd name="T146" fmla="*/ 669 w 669"/>
                  <a:gd name="T147" fmla="*/ 1422 h 1422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9" h="1422">
                    <a:moveTo>
                      <a:pt x="568" y="1286"/>
                    </a:moveTo>
                    <a:lnTo>
                      <a:pt x="541" y="1318"/>
                    </a:lnTo>
                    <a:lnTo>
                      <a:pt x="495" y="1329"/>
                    </a:lnTo>
                    <a:lnTo>
                      <a:pt x="438" y="1335"/>
                    </a:lnTo>
                    <a:lnTo>
                      <a:pt x="375" y="1348"/>
                    </a:lnTo>
                    <a:lnTo>
                      <a:pt x="334" y="1374"/>
                    </a:lnTo>
                    <a:lnTo>
                      <a:pt x="321" y="1387"/>
                    </a:lnTo>
                    <a:lnTo>
                      <a:pt x="309" y="1381"/>
                    </a:lnTo>
                    <a:lnTo>
                      <a:pt x="233" y="1324"/>
                    </a:lnTo>
                    <a:lnTo>
                      <a:pt x="136" y="1248"/>
                    </a:lnTo>
                    <a:lnTo>
                      <a:pt x="104" y="1200"/>
                    </a:lnTo>
                    <a:lnTo>
                      <a:pt x="54" y="1150"/>
                    </a:lnTo>
                    <a:lnTo>
                      <a:pt x="40" y="1112"/>
                    </a:lnTo>
                    <a:lnTo>
                      <a:pt x="0" y="1106"/>
                    </a:lnTo>
                    <a:lnTo>
                      <a:pt x="21" y="1148"/>
                    </a:lnTo>
                    <a:lnTo>
                      <a:pt x="41" y="1189"/>
                    </a:lnTo>
                    <a:lnTo>
                      <a:pt x="104" y="1234"/>
                    </a:lnTo>
                    <a:lnTo>
                      <a:pt x="147" y="1291"/>
                    </a:lnTo>
                    <a:lnTo>
                      <a:pt x="253" y="1357"/>
                    </a:lnTo>
                    <a:lnTo>
                      <a:pt x="317" y="1422"/>
                    </a:lnTo>
                    <a:lnTo>
                      <a:pt x="343" y="1416"/>
                    </a:lnTo>
                    <a:lnTo>
                      <a:pt x="369" y="1383"/>
                    </a:lnTo>
                    <a:lnTo>
                      <a:pt x="405" y="1364"/>
                    </a:lnTo>
                    <a:lnTo>
                      <a:pt x="451" y="1351"/>
                    </a:lnTo>
                    <a:lnTo>
                      <a:pt x="547" y="1342"/>
                    </a:lnTo>
                    <a:lnTo>
                      <a:pt x="576" y="1324"/>
                    </a:lnTo>
                    <a:lnTo>
                      <a:pt x="625" y="1312"/>
                    </a:lnTo>
                    <a:lnTo>
                      <a:pt x="633" y="1291"/>
                    </a:lnTo>
                    <a:lnTo>
                      <a:pt x="618" y="1264"/>
                    </a:lnTo>
                    <a:lnTo>
                      <a:pt x="601" y="1239"/>
                    </a:lnTo>
                    <a:lnTo>
                      <a:pt x="612" y="1207"/>
                    </a:lnTo>
                    <a:lnTo>
                      <a:pt x="625" y="1189"/>
                    </a:lnTo>
                    <a:lnTo>
                      <a:pt x="625" y="1161"/>
                    </a:lnTo>
                    <a:lnTo>
                      <a:pt x="612" y="1118"/>
                    </a:lnTo>
                    <a:lnTo>
                      <a:pt x="606" y="1096"/>
                    </a:lnTo>
                    <a:lnTo>
                      <a:pt x="588" y="1077"/>
                    </a:lnTo>
                    <a:lnTo>
                      <a:pt x="579" y="1054"/>
                    </a:lnTo>
                    <a:lnTo>
                      <a:pt x="588" y="1033"/>
                    </a:lnTo>
                    <a:lnTo>
                      <a:pt x="607" y="1015"/>
                    </a:lnTo>
                    <a:lnTo>
                      <a:pt x="606" y="987"/>
                    </a:lnTo>
                    <a:lnTo>
                      <a:pt x="595" y="968"/>
                    </a:lnTo>
                    <a:lnTo>
                      <a:pt x="573" y="938"/>
                    </a:lnTo>
                    <a:lnTo>
                      <a:pt x="560" y="922"/>
                    </a:lnTo>
                    <a:lnTo>
                      <a:pt x="566" y="900"/>
                    </a:lnTo>
                    <a:lnTo>
                      <a:pt x="598" y="880"/>
                    </a:lnTo>
                    <a:lnTo>
                      <a:pt x="612" y="854"/>
                    </a:lnTo>
                    <a:lnTo>
                      <a:pt x="607" y="832"/>
                    </a:lnTo>
                    <a:lnTo>
                      <a:pt x="586" y="796"/>
                    </a:lnTo>
                    <a:lnTo>
                      <a:pt x="562" y="751"/>
                    </a:lnTo>
                    <a:lnTo>
                      <a:pt x="554" y="718"/>
                    </a:lnTo>
                    <a:lnTo>
                      <a:pt x="566" y="705"/>
                    </a:lnTo>
                    <a:lnTo>
                      <a:pt x="601" y="693"/>
                    </a:lnTo>
                    <a:lnTo>
                      <a:pt x="620" y="680"/>
                    </a:lnTo>
                    <a:lnTo>
                      <a:pt x="625" y="639"/>
                    </a:lnTo>
                    <a:lnTo>
                      <a:pt x="601" y="593"/>
                    </a:lnTo>
                    <a:lnTo>
                      <a:pt x="606" y="563"/>
                    </a:lnTo>
                    <a:lnTo>
                      <a:pt x="614" y="536"/>
                    </a:lnTo>
                    <a:lnTo>
                      <a:pt x="592" y="503"/>
                    </a:lnTo>
                    <a:lnTo>
                      <a:pt x="573" y="473"/>
                    </a:lnTo>
                    <a:lnTo>
                      <a:pt x="579" y="454"/>
                    </a:lnTo>
                    <a:lnTo>
                      <a:pt x="592" y="435"/>
                    </a:lnTo>
                    <a:lnTo>
                      <a:pt x="592" y="403"/>
                    </a:lnTo>
                    <a:lnTo>
                      <a:pt x="579" y="383"/>
                    </a:lnTo>
                    <a:lnTo>
                      <a:pt x="566" y="368"/>
                    </a:lnTo>
                    <a:lnTo>
                      <a:pt x="568" y="344"/>
                    </a:lnTo>
                    <a:lnTo>
                      <a:pt x="592" y="332"/>
                    </a:lnTo>
                    <a:lnTo>
                      <a:pt x="606" y="319"/>
                    </a:lnTo>
                    <a:lnTo>
                      <a:pt x="598" y="293"/>
                    </a:lnTo>
                    <a:lnTo>
                      <a:pt x="573" y="261"/>
                    </a:lnTo>
                    <a:lnTo>
                      <a:pt x="562" y="232"/>
                    </a:lnTo>
                    <a:lnTo>
                      <a:pt x="560" y="200"/>
                    </a:lnTo>
                    <a:lnTo>
                      <a:pt x="582" y="168"/>
                    </a:lnTo>
                    <a:lnTo>
                      <a:pt x="627" y="118"/>
                    </a:lnTo>
                    <a:lnTo>
                      <a:pt x="650" y="80"/>
                    </a:lnTo>
                    <a:lnTo>
                      <a:pt x="669" y="47"/>
                    </a:lnTo>
                    <a:lnTo>
                      <a:pt x="663" y="15"/>
                    </a:lnTo>
                    <a:lnTo>
                      <a:pt x="646" y="0"/>
                    </a:lnTo>
                    <a:lnTo>
                      <a:pt x="633" y="3"/>
                    </a:lnTo>
                    <a:lnTo>
                      <a:pt x="612" y="28"/>
                    </a:lnTo>
                    <a:lnTo>
                      <a:pt x="627" y="47"/>
                    </a:lnTo>
                    <a:lnTo>
                      <a:pt x="625" y="80"/>
                    </a:lnTo>
                    <a:lnTo>
                      <a:pt x="595" y="136"/>
                    </a:lnTo>
                    <a:lnTo>
                      <a:pt x="555" y="168"/>
                    </a:lnTo>
                    <a:lnTo>
                      <a:pt x="543" y="188"/>
                    </a:lnTo>
                    <a:lnTo>
                      <a:pt x="535" y="213"/>
                    </a:lnTo>
                    <a:lnTo>
                      <a:pt x="530" y="229"/>
                    </a:lnTo>
                    <a:lnTo>
                      <a:pt x="472" y="273"/>
                    </a:lnTo>
                    <a:lnTo>
                      <a:pt x="421" y="303"/>
                    </a:lnTo>
                    <a:lnTo>
                      <a:pt x="414" y="325"/>
                    </a:lnTo>
                    <a:lnTo>
                      <a:pt x="432" y="329"/>
                    </a:lnTo>
                    <a:lnTo>
                      <a:pt x="508" y="273"/>
                    </a:lnTo>
                    <a:lnTo>
                      <a:pt x="547" y="261"/>
                    </a:lnTo>
                    <a:lnTo>
                      <a:pt x="566" y="297"/>
                    </a:lnTo>
                    <a:lnTo>
                      <a:pt x="573" y="313"/>
                    </a:lnTo>
                    <a:lnTo>
                      <a:pt x="554" y="329"/>
                    </a:lnTo>
                    <a:lnTo>
                      <a:pt x="536" y="343"/>
                    </a:lnTo>
                    <a:lnTo>
                      <a:pt x="535" y="364"/>
                    </a:lnTo>
                    <a:lnTo>
                      <a:pt x="541" y="387"/>
                    </a:lnTo>
                    <a:lnTo>
                      <a:pt x="524" y="406"/>
                    </a:lnTo>
                    <a:lnTo>
                      <a:pt x="476" y="428"/>
                    </a:lnTo>
                    <a:lnTo>
                      <a:pt x="405" y="458"/>
                    </a:lnTo>
                    <a:lnTo>
                      <a:pt x="432" y="467"/>
                    </a:lnTo>
                    <a:lnTo>
                      <a:pt x="504" y="439"/>
                    </a:lnTo>
                    <a:lnTo>
                      <a:pt x="562" y="409"/>
                    </a:lnTo>
                    <a:lnTo>
                      <a:pt x="573" y="416"/>
                    </a:lnTo>
                    <a:lnTo>
                      <a:pt x="566" y="435"/>
                    </a:lnTo>
                    <a:lnTo>
                      <a:pt x="547" y="454"/>
                    </a:lnTo>
                    <a:lnTo>
                      <a:pt x="541" y="473"/>
                    </a:lnTo>
                    <a:lnTo>
                      <a:pt x="549" y="499"/>
                    </a:lnTo>
                    <a:lnTo>
                      <a:pt x="573" y="519"/>
                    </a:lnTo>
                    <a:lnTo>
                      <a:pt x="573" y="536"/>
                    </a:lnTo>
                    <a:lnTo>
                      <a:pt x="535" y="544"/>
                    </a:lnTo>
                    <a:lnTo>
                      <a:pt x="502" y="587"/>
                    </a:lnTo>
                    <a:lnTo>
                      <a:pt x="463" y="613"/>
                    </a:lnTo>
                    <a:lnTo>
                      <a:pt x="411" y="626"/>
                    </a:lnTo>
                    <a:lnTo>
                      <a:pt x="408" y="639"/>
                    </a:lnTo>
                    <a:lnTo>
                      <a:pt x="440" y="634"/>
                    </a:lnTo>
                    <a:lnTo>
                      <a:pt x="508" y="613"/>
                    </a:lnTo>
                    <a:lnTo>
                      <a:pt x="535" y="593"/>
                    </a:lnTo>
                    <a:lnTo>
                      <a:pt x="549" y="574"/>
                    </a:lnTo>
                    <a:lnTo>
                      <a:pt x="573" y="571"/>
                    </a:lnTo>
                    <a:lnTo>
                      <a:pt x="573" y="593"/>
                    </a:lnTo>
                    <a:lnTo>
                      <a:pt x="588" y="615"/>
                    </a:lnTo>
                    <a:lnTo>
                      <a:pt x="601" y="639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5" y="680"/>
                    </a:lnTo>
                    <a:lnTo>
                      <a:pt x="514" y="699"/>
                    </a:lnTo>
                    <a:lnTo>
                      <a:pt x="427" y="725"/>
                    </a:lnTo>
                    <a:lnTo>
                      <a:pt x="362" y="748"/>
                    </a:lnTo>
                    <a:lnTo>
                      <a:pt x="337" y="761"/>
                    </a:lnTo>
                    <a:lnTo>
                      <a:pt x="356" y="777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4" y="723"/>
                    </a:lnTo>
                    <a:lnTo>
                      <a:pt x="536" y="745"/>
                    </a:lnTo>
                    <a:lnTo>
                      <a:pt x="549" y="783"/>
                    </a:lnTo>
                    <a:lnTo>
                      <a:pt x="573" y="816"/>
                    </a:lnTo>
                    <a:lnTo>
                      <a:pt x="576" y="841"/>
                    </a:lnTo>
                    <a:lnTo>
                      <a:pt x="573" y="865"/>
                    </a:lnTo>
                    <a:lnTo>
                      <a:pt x="547" y="873"/>
                    </a:lnTo>
                    <a:lnTo>
                      <a:pt x="502" y="884"/>
                    </a:lnTo>
                    <a:lnTo>
                      <a:pt x="444" y="910"/>
                    </a:lnTo>
                    <a:lnTo>
                      <a:pt x="359" y="922"/>
                    </a:lnTo>
                    <a:lnTo>
                      <a:pt x="328" y="938"/>
                    </a:lnTo>
                    <a:lnTo>
                      <a:pt x="350" y="949"/>
                    </a:lnTo>
                    <a:lnTo>
                      <a:pt x="424" y="938"/>
                    </a:lnTo>
                    <a:lnTo>
                      <a:pt x="476" y="919"/>
                    </a:lnTo>
                    <a:lnTo>
                      <a:pt x="511" y="906"/>
                    </a:lnTo>
                    <a:lnTo>
                      <a:pt x="541" y="900"/>
                    </a:lnTo>
                    <a:lnTo>
                      <a:pt x="536" y="922"/>
                    </a:lnTo>
                    <a:lnTo>
                      <a:pt x="549" y="955"/>
                    </a:lnTo>
                    <a:lnTo>
                      <a:pt x="568" y="974"/>
                    </a:lnTo>
                    <a:lnTo>
                      <a:pt x="573" y="996"/>
                    </a:lnTo>
                    <a:lnTo>
                      <a:pt x="573" y="1015"/>
                    </a:lnTo>
                    <a:lnTo>
                      <a:pt x="547" y="1026"/>
                    </a:lnTo>
                    <a:lnTo>
                      <a:pt x="498" y="1028"/>
                    </a:lnTo>
                    <a:lnTo>
                      <a:pt x="463" y="1039"/>
                    </a:lnTo>
                    <a:lnTo>
                      <a:pt x="386" y="1065"/>
                    </a:lnTo>
                    <a:lnTo>
                      <a:pt x="343" y="1066"/>
                    </a:lnTo>
                    <a:lnTo>
                      <a:pt x="328" y="1086"/>
                    </a:lnTo>
                    <a:lnTo>
                      <a:pt x="347" y="1093"/>
                    </a:lnTo>
                    <a:lnTo>
                      <a:pt x="386" y="1084"/>
                    </a:lnTo>
                    <a:lnTo>
                      <a:pt x="444" y="1066"/>
                    </a:lnTo>
                    <a:lnTo>
                      <a:pt x="476" y="1054"/>
                    </a:lnTo>
                    <a:lnTo>
                      <a:pt x="517" y="1045"/>
                    </a:lnTo>
                    <a:lnTo>
                      <a:pt x="549" y="1047"/>
                    </a:lnTo>
                    <a:lnTo>
                      <a:pt x="560" y="1047"/>
                    </a:lnTo>
                    <a:lnTo>
                      <a:pt x="560" y="1077"/>
                    </a:lnTo>
                    <a:lnTo>
                      <a:pt x="568" y="1093"/>
                    </a:lnTo>
                    <a:lnTo>
                      <a:pt x="511" y="1106"/>
                    </a:lnTo>
                    <a:lnTo>
                      <a:pt x="459" y="1144"/>
                    </a:lnTo>
                    <a:lnTo>
                      <a:pt x="402" y="1164"/>
                    </a:lnTo>
                    <a:lnTo>
                      <a:pt x="362" y="1170"/>
                    </a:lnTo>
                    <a:lnTo>
                      <a:pt x="329" y="1188"/>
                    </a:lnTo>
                    <a:lnTo>
                      <a:pt x="343" y="1200"/>
                    </a:lnTo>
                    <a:lnTo>
                      <a:pt x="375" y="1189"/>
                    </a:lnTo>
                    <a:lnTo>
                      <a:pt x="411" y="1177"/>
                    </a:lnTo>
                    <a:lnTo>
                      <a:pt x="453" y="1170"/>
                    </a:lnTo>
                    <a:lnTo>
                      <a:pt x="489" y="1148"/>
                    </a:lnTo>
                    <a:lnTo>
                      <a:pt x="508" y="1129"/>
                    </a:lnTo>
                    <a:lnTo>
                      <a:pt x="535" y="1125"/>
                    </a:lnTo>
                    <a:lnTo>
                      <a:pt x="566" y="1125"/>
                    </a:lnTo>
                    <a:lnTo>
                      <a:pt x="576" y="1129"/>
                    </a:lnTo>
                    <a:lnTo>
                      <a:pt x="586" y="1150"/>
                    </a:lnTo>
                    <a:lnTo>
                      <a:pt x="592" y="1177"/>
                    </a:lnTo>
                    <a:lnTo>
                      <a:pt x="586" y="1200"/>
                    </a:lnTo>
                    <a:lnTo>
                      <a:pt x="573" y="1213"/>
                    </a:lnTo>
                    <a:lnTo>
                      <a:pt x="562" y="1245"/>
                    </a:lnTo>
                    <a:lnTo>
                      <a:pt x="573" y="1258"/>
                    </a:lnTo>
                    <a:lnTo>
                      <a:pt x="586" y="1272"/>
                    </a:lnTo>
                    <a:lnTo>
                      <a:pt x="586" y="1284"/>
                    </a:lnTo>
                    <a:lnTo>
                      <a:pt x="568" y="128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" name="Freeform 419"/>
              <p:cNvSpPr>
                <a:spLocks/>
              </p:cNvSpPr>
              <p:nvPr/>
            </p:nvSpPr>
            <p:spPr bwMode="auto">
              <a:xfrm>
                <a:off x="4528" y="1811"/>
                <a:ext cx="48" cy="16"/>
              </a:xfrm>
              <a:custGeom>
                <a:avLst/>
                <a:gdLst>
                  <a:gd name="T0" fmla="*/ 0 w 193"/>
                  <a:gd name="T1" fmla="*/ 51 h 64"/>
                  <a:gd name="T2" fmla="*/ 77 w 193"/>
                  <a:gd name="T3" fmla="*/ 48 h 64"/>
                  <a:gd name="T4" fmla="*/ 107 w 193"/>
                  <a:gd name="T5" fmla="*/ 31 h 64"/>
                  <a:gd name="T6" fmla="*/ 132 w 193"/>
                  <a:gd name="T7" fmla="*/ 12 h 64"/>
                  <a:gd name="T8" fmla="*/ 180 w 193"/>
                  <a:gd name="T9" fmla="*/ 0 h 64"/>
                  <a:gd name="T10" fmla="*/ 193 w 193"/>
                  <a:gd name="T11" fmla="*/ 12 h 64"/>
                  <a:gd name="T12" fmla="*/ 173 w 193"/>
                  <a:gd name="T13" fmla="*/ 18 h 64"/>
                  <a:gd name="T14" fmla="*/ 139 w 193"/>
                  <a:gd name="T15" fmla="*/ 36 h 64"/>
                  <a:gd name="T16" fmla="*/ 121 w 193"/>
                  <a:gd name="T17" fmla="*/ 48 h 64"/>
                  <a:gd name="T18" fmla="*/ 90 w 193"/>
                  <a:gd name="T19" fmla="*/ 57 h 64"/>
                  <a:gd name="T20" fmla="*/ 42 w 193"/>
                  <a:gd name="T21" fmla="*/ 61 h 64"/>
                  <a:gd name="T22" fmla="*/ 3 w 193"/>
                  <a:gd name="T23" fmla="*/ 64 h 64"/>
                  <a:gd name="T24" fmla="*/ 0 w 193"/>
                  <a:gd name="T25" fmla="*/ 51 h 6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3"/>
                  <a:gd name="T40" fmla="*/ 0 h 64"/>
                  <a:gd name="T41" fmla="*/ 193 w 193"/>
                  <a:gd name="T42" fmla="*/ 64 h 6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3" h="64">
                    <a:moveTo>
                      <a:pt x="0" y="51"/>
                    </a:moveTo>
                    <a:lnTo>
                      <a:pt x="77" y="48"/>
                    </a:lnTo>
                    <a:lnTo>
                      <a:pt x="107" y="31"/>
                    </a:lnTo>
                    <a:lnTo>
                      <a:pt x="132" y="12"/>
                    </a:lnTo>
                    <a:lnTo>
                      <a:pt x="180" y="0"/>
                    </a:lnTo>
                    <a:lnTo>
                      <a:pt x="193" y="12"/>
                    </a:lnTo>
                    <a:lnTo>
                      <a:pt x="173" y="18"/>
                    </a:lnTo>
                    <a:lnTo>
                      <a:pt x="139" y="36"/>
                    </a:lnTo>
                    <a:lnTo>
                      <a:pt x="121" y="48"/>
                    </a:lnTo>
                    <a:lnTo>
                      <a:pt x="90" y="57"/>
                    </a:lnTo>
                    <a:lnTo>
                      <a:pt x="42" y="61"/>
                    </a:lnTo>
                    <a:lnTo>
                      <a:pt x="3" y="64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" name="Freeform 420"/>
              <p:cNvSpPr>
                <a:spLocks/>
              </p:cNvSpPr>
              <p:nvPr/>
            </p:nvSpPr>
            <p:spPr bwMode="auto">
              <a:xfrm>
                <a:off x="4454" y="1464"/>
                <a:ext cx="140" cy="76"/>
              </a:xfrm>
              <a:custGeom>
                <a:avLst/>
                <a:gdLst>
                  <a:gd name="T0" fmla="*/ 17 w 562"/>
                  <a:gd name="T1" fmla="*/ 35 h 305"/>
                  <a:gd name="T2" fmla="*/ 84 w 562"/>
                  <a:gd name="T3" fmla="*/ 39 h 305"/>
                  <a:gd name="T4" fmla="*/ 155 w 562"/>
                  <a:gd name="T5" fmla="*/ 41 h 305"/>
                  <a:gd name="T6" fmla="*/ 201 w 562"/>
                  <a:gd name="T7" fmla="*/ 41 h 305"/>
                  <a:gd name="T8" fmla="*/ 237 w 562"/>
                  <a:gd name="T9" fmla="*/ 33 h 305"/>
                  <a:gd name="T10" fmla="*/ 296 w 562"/>
                  <a:gd name="T11" fmla="*/ 16 h 305"/>
                  <a:gd name="T12" fmla="*/ 323 w 562"/>
                  <a:gd name="T13" fmla="*/ 0 h 305"/>
                  <a:gd name="T14" fmla="*/ 362 w 562"/>
                  <a:gd name="T15" fmla="*/ 22 h 305"/>
                  <a:gd name="T16" fmla="*/ 424 w 562"/>
                  <a:gd name="T17" fmla="*/ 65 h 305"/>
                  <a:gd name="T18" fmla="*/ 470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8 h 305"/>
                  <a:gd name="T24" fmla="*/ 530 w 562"/>
                  <a:gd name="T25" fmla="*/ 196 h 305"/>
                  <a:gd name="T26" fmla="*/ 497 w 562"/>
                  <a:gd name="T27" fmla="*/ 226 h 305"/>
                  <a:gd name="T28" fmla="*/ 446 w 562"/>
                  <a:gd name="T29" fmla="*/ 247 h 305"/>
                  <a:gd name="T30" fmla="*/ 392 w 562"/>
                  <a:gd name="T31" fmla="*/ 270 h 305"/>
                  <a:gd name="T32" fmla="*/ 343 w 562"/>
                  <a:gd name="T33" fmla="*/ 289 h 305"/>
                  <a:gd name="T34" fmla="*/ 297 w 562"/>
                  <a:gd name="T35" fmla="*/ 297 h 305"/>
                  <a:gd name="T36" fmla="*/ 250 w 562"/>
                  <a:gd name="T37" fmla="*/ 305 h 305"/>
                  <a:gd name="T38" fmla="*/ 191 w 562"/>
                  <a:gd name="T39" fmla="*/ 264 h 305"/>
                  <a:gd name="T40" fmla="*/ 147 w 562"/>
                  <a:gd name="T41" fmla="*/ 228 h 305"/>
                  <a:gd name="T42" fmla="*/ 95 w 562"/>
                  <a:gd name="T43" fmla="*/ 183 h 305"/>
                  <a:gd name="T44" fmla="*/ 52 w 562"/>
                  <a:gd name="T45" fmla="*/ 137 h 305"/>
                  <a:gd name="T46" fmla="*/ 19 w 562"/>
                  <a:gd name="T47" fmla="*/ 106 h 305"/>
                  <a:gd name="T48" fmla="*/ 0 w 562"/>
                  <a:gd name="T49" fmla="*/ 60 h 305"/>
                  <a:gd name="T50" fmla="*/ 17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7" y="35"/>
                    </a:moveTo>
                    <a:lnTo>
                      <a:pt x="84" y="39"/>
                    </a:lnTo>
                    <a:lnTo>
                      <a:pt x="155" y="41"/>
                    </a:lnTo>
                    <a:lnTo>
                      <a:pt x="201" y="41"/>
                    </a:lnTo>
                    <a:lnTo>
                      <a:pt x="237" y="33"/>
                    </a:lnTo>
                    <a:lnTo>
                      <a:pt x="296" y="16"/>
                    </a:lnTo>
                    <a:lnTo>
                      <a:pt x="323" y="0"/>
                    </a:lnTo>
                    <a:lnTo>
                      <a:pt x="362" y="22"/>
                    </a:lnTo>
                    <a:lnTo>
                      <a:pt x="424" y="65"/>
                    </a:lnTo>
                    <a:lnTo>
                      <a:pt x="470" y="96"/>
                    </a:lnTo>
                    <a:lnTo>
                      <a:pt x="527" y="137"/>
                    </a:lnTo>
                    <a:lnTo>
                      <a:pt x="562" y="168"/>
                    </a:lnTo>
                    <a:lnTo>
                      <a:pt x="530" y="196"/>
                    </a:lnTo>
                    <a:lnTo>
                      <a:pt x="497" y="226"/>
                    </a:lnTo>
                    <a:lnTo>
                      <a:pt x="446" y="247"/>
                    </a:lnTo>
                    <a:lnTo>
                      <a:pt x="392" y="270"/>
                    </a:lnTo>
                    <a:lnTo>
                      <a:pt x="343" y="289"/>
                    </a:lnTo>
                    <a:lnTo>
                      <a:pt x="297" y="297"/>
                    </a:lnTo>
                    <a:lnTo>
                      <a:pt x="250" y="305"/>
                    </a:lnTo>
                    <a:lnTo>
                      <a:pt x="191" y="264"/>
                    </a:lnTo>
                    <a:lnTo>
                      <a:pt x="147" y="228"/>
                    </a:lnTo>
                    <a:lnTo>
                      <a:pt x="95" y="183"/>
                    </a:lnTo>
                    <a:lnTo>
                      <a:pt x="52" y="137"/>
                    </a:lnTo>
                    <a:lnTo>
                      <a:pt x="19" y="106"/>
                    </a:lnTo>
                    <a:lnTo>
                      <a:pt x="0" y="60"/>
                    </a:lnTo>
                    <a:lnTo>
                      <a:pt x="17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" name="Freeform 421"/>
              <p:cNvSpPr>
                <a:spLocks/>
              </p:cNvSpPr>
              <p:nvPr/>
            </p:nvSpPr>
            <p:spPr bwMode="auto">
              <a:xfrm>
                <a:off x="4450" y="1461"/>
                <a:ext cx="152" cy="89"/>
              </a:xfrm>
              <a:custGeom>
                <a:avLst/>
                <a:gdLst>
                  <a:gd name="T0" fmla="*/ 298 w 607"/>
                  <a:gd name="T1" fmla="*/ 303 h 355"/>
                  <a:gd name="T2" fmla="*/ 394 w 607"/>
                  <a:gd name="T3" fmla="*/ 277 h 355"/>
                  <a:gd name="T4" fmla="*/ 472 w 607"/>
                  <a:gd name="T5" fmla="*/ 243 h 355"/>
                  <a:gd name="T6" fmla="*/ 528 w 607"/>
                  <a:gd name="T7" fmla="*/ 204 h 355"/>
                  <a:gd name="T8" fmla="*/ 550 w 607"/>
                  <a:gd name="T9" fmla="*/ 181 h 355"/>
                  <a:gd name="T10" fmla="*/ 469 w 607"/>
                  <a:gd name="T11" fmla="*/ 108 h 355"/>
                  <a:gd name="T12" fmla="*/ 405 w 607"/>
                  <a:gd name="T13" fmla="*/ 68 h 355"/>
                  <a:gd name="T14" fmla="*/ 342 w 607"/>
                  <a:gd name="T15" fmla="*/ 30 h 355"/>
                  <a:gd name="T16" fmla="*/ 330 w 607"/>
                  <a:gd name="T17" fmla="*/ 30 h 355"/>
                  <a:gd name="T18" fmla="*/ 290 w 607"/>
                  <a:gd name="T19" fmla="*/ 43 h 355"/>
                  <a:gd name="T20" fmla="*/ 239 w 607"/>
                  <a:gd name="T21" fmla="*/ 57 h 355"/>
                  <a:gd name="T22" fmla="*/ 146 w 607"/>
                  <a:gd name="T23" fmla="*/ 64 h 355"/>
                  <a:gd name="T24" fmla="*/ 56 w 607"/>
                  <a:gd name="T25" fmla="*/ 62 h 355"/>
                  <a:gd name="T26" fmla="*/ 32 w 607"/>
                  <a:gd name="T27" fmla="*/ 64 h 355"/>
                  <a:gd name="T28" fmla="*/ 32 w 607"/>
                  <a:gd name="T29" fmla="*/ 81 h 355"/>
                  <a:gd name="T30" fmla="*/ 51 w 607"/>
                  <a:gd name="T31" fmla="*/ 108 h 355"/>
                  <a:gd name="T32" fmla="*/ 89 w 607"/>
                  <a:gd name="T33" fmla="*/ 154 h 355"/>
                  <a:gd name="T34" fmla="*/ 136 w 607"/>
                  <a:gd name="T35" fmla="*/ 193 h 355"/>
                  <a:gd name="T36" fmla="*/ 193 w 607"/>
                  <a:gd name="T37" fmla="*/ 249 h 355"/>
                  <a:gd name="T38" fmla="*/ 250 w 607"/>
                  <a:gd name="T39" fmla="*/ 290 h 355"/>
                  <a:gd name="T40" fmla="*/ 284 w 607"/>
                  <a:gd name="T41" fmla="*/ 314 h 355"/>
                  <a:gd name="T42" fmla="*/ 295 w 607"/>
                  <a:gd name="T43" fmla="*/ 339 h 355"/>
                  <a:gd name="T44" fmla="*/ 282 w 607"/>
                  <a:gd name="T45" fmla="*/ 355 h 355"/>
                  <a:gd name="T46" fmla="*/ 263 w 607"/>
                  <a:gd name="T47" fmla="*/ 346 h 355"/>
                  <a:gd name="T48" fmla="*/ 206 w 607"/>
                  <a:gd name="T49" fmla="*/ 295 h 355"/>
                  <a:gd name="T50" fmla="*/ 136 w 607"/>
                  <a:gd name="T51" fmla="*/ 236 h 355"/>
                  <a:gd name="T52" fmla="*/ 84 w 607"/>
                  <a:gd name="T53" fmla="*/ 193 h 355"/>
                  <a:gd name="T54" fmla="*/ 49 w 607"/>
                  <a:gd name="T55" fmla="*/ 154 h 355"/>
                  <a:gd name="T56" fmla="*/ 19 w 607"/>
                  <a:gd name="T57" fmla="*/ 114 h 355"/>
                  <a:gd name="T58" fmla="*/ 6 w 607"/>
                  <a:gd name="T59" fmla="*/ 87 h 355"/>
                  <a:gd name="T60" fmla="*/ 0 w 607"/>
                  <a:gd name="T61" fmla="*/ 57 h 355"/>
                  <a:gd name="T62" fmla="*/ 8 w 607"/>
                  <a:gd name="T63" fmla="*/ 38 h 355"/>
                  <a:gd name="T64" fmla="*/ 30 w 607"/>
                  <a:gd name="T65" fmla="*/ 30 h 355"/>
                  <a:gd name="T66" fmla="*/ 68 w 607"/>
                  <a:gd name="T67" fmla="*/ 32 h 355"/>
                  <a:gd name="T68" fmla="*/ 142 w 607"/>
                  <a:gd name="T69" fmla="*/ 43 h 355"/>
                  <a:gd name="T70" fmla="*/ 204 w 607"/>
                  <a:gd name="T71" fmla="*/ 43 h 355"/>
                  <a:gd name="T72" fmla="*/ 250 w 607"/>
                  <a:gd name="T73" fmla="*/ 30 h 355"/>
                  <a:gd name="T74" fmla="*/ 301 w 607"/>
                  <a:gd name="T75" fmla="*/ 19 h 355"/>
                  <a:gd name="T76" fmla="*/ 323 w 607"/>
                  <a:gd name="T77" fmla="*/ 0 h 355"/>
                  <a:gd name="T78" fmla="*/ 347 w 607"/>
                  <a:gd name="T79" fmla="*/ 0 h 355"/>
                  <a:gd name="T80" fmla="*/ 401 w 607"/>
                  <a:gd name="T81" fmla="*/ 32 h 355"/>
                  <a:gd name="T82" fmla="*/ 459 w 607"/>
                  <a:gd name="T83" fmla="*/ 76 h 355"/>
                  <a:gd name="T84" fmla="*/ 521 w 607"/>
                  <a:gd name="T85" fmla="*/ 116 h 355"/>
                  <a:gd name="T86" fmla="*/ 556 w 607"/>
                  <a:gd name="T87" fmla="*/ 141 h 355"/>
                  <a:gd name="T88" fmla="*/ 592 w 607"/>
                  <a:gd name="T89" fmla="*/ 165 h 355"/>
                  <a:gd name="T90" fmla="*/ 607 w 607"/>
                  <a:gd name="T91" fmla="*/ 174 h 355"/>
                  <a:gd name="T92" fmla="*/ 599 w 607"/>
                  <a:gd name="T93" fmla="*/ 192 h 355"/>
                  <a:gd name="T94" fmla="*/ 573 w 607"/>
                  <a:gd name="T95" fmla="*/ 206 h 355"/>
                  <a:gd name="T96" fmla="*/ 543 w 607"/>
                  <a:gd name="T97" fmla="*/ 232 h 355"/>
                  <a:gd name="T98" fmla="*/ 515 w 607"/>
                  <a:gd name="T99" fmla="*/ 243 h 355"/>
                  <a:gd name="T100" fmla="*/ 463 w 607"/>
                  <a:gd name="T101" fmla="*/ 265 h 355"/>
                  <a:gd name="T102" fmla="*/ 426 w 607"/>
                  <a:gd name="T103" fmla="*/ 282 h 355"/>
                  <a:gd name="T104" fmla="*/ 385 w 607"/>
                  <a:gd name="T105" fmla="*/ 307 h 355"/>
                  <a:gd name="T106" fmla="*/ 342 w 607"/>
                  <a:gd name="T107" fmla="*/ 314 h 355"/>
                  <a:gd name="T108" fmla="*/ 308 w 607"/>
                  <a:gd name="T109" fmla="*/ 316 h 355"/>
                  <a:gd name="T110" fmla="*/ 298 w 607"/>
                  <a:gd name="T111" fmla="*/ 303 h 35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7"/>
                  <a:gd name="T169" fmla="*/ 0 h 355"/>
                  <a:gd name="T170" fmla="*/ 607 w 607"/>
                  <a:gd name="T171" fmla="*/ 355 h 35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7" h="355">
                    <a:moveTo>
                      <a:pt x="298" y="303"/>
                    </a:moveTo>
                    <a:lnTo>
                      <a:pt x="394" y="277"/>
                    </a:lnTo>
                    <a:lnTo>
                      <a:pt x="472" y="243"/>
                    </a:lnTo>
                    <a:lnTo>
                      <a:pt x="528" y="204"/>
                    </a:lnTo>
                    <a:lnTo>
                      <a:pt x="550" y="181"/>
                    </a:lnTo>
                    <a:lnTo>
                      <a:pt x="469" y="108"/>
                    </a:lnTo>
                    <a:lnTo>
                      <a:pt x="405" y="68"/>
                    </a:lnTo>
                    <a:lnTo>
                      <a:pt x="342" y="30"/>
                    </a:lnTo>
                    <a:lnTo>
                      <a:pt x="330" y="30"/>
                    </a:lnTo>
                    <a:lnTo>
                      <a:pt x="290" y="43"/>
                    </a:lnTo>
                    <a:lnTo>
                      <a:pt x="239" y="57"/>
                    </a:lnTo>
                    <a:lnTo>
                      <a:pt x="146" y="64"/>
                    </a:lnTo>
                    <a:lnTo>
                      <a:pt x="56" y="62"/>
                    </a:lnTo>
                    <a:lnTo>
                      <a:pt x="32" y="64"/>
                    </a:lnTo>
                    <a:lnTo>
                      <a:pt x="32" y="81"/>
                    </a:lnTo>
                    <a:lnTo>
                      <a:pt x="51" y="108"/>
                    </a:lnTo>
                    <a:lnTo>
                      <a:pt x="89" y="154"/>
                    </a:lnTo>
                    <a:lnTo>
                      <a:pt x="136" y="193"/>
                    </a:lnTo>
                    <a:lnTo>
                      <a:pt x="193" y="249"/>
                    </a:lnTo>
                    <a:lnTo>
                      <a:pt x="250" y="290"/>
                    </a:lnTo>
                    <a:lnTo>
                      <a:pt x="284" y="314"/>
                    </a:lnTo>
                    <a:lnTo>
                      <a:pt x="295" y="339"/>
                    </a:lnTo>
                    <a:lnTo>
                      <a:pt x="282" y="355"/>
                    </a:lnTo>
                    <a:lnTo>
                      <a:pt x="263" y="346"/>
                    </a:lnTo>
                    <a:lnTo>
                      <a:pt x="206" y="295"/>
                    </a:lnTo>
                    <a:lnTo>
                      <a:pt x="136" y="236"/>
                    </a:lnTo>
                    <a:lnTo>
                      <a:pt x="84" y="193"/>
                    </a:lnTo>
                    <a:lnTo>
                      <a:pt x="49" y="154"/>
                    </a:lnTo>
                    <a:lnTo>
                      <a:pt x="19" y="114"/>
                    </a:lnTo>
                    <a:lnTo>
                      <a:pt x="6" y="87"/>
                    </a:lnTo>
                    <a:lnTo>
                      <a:pt x="0" y="57"/>
                    </a:lnTo>
                    <a:lnTo>
                      <a:pt x="8" y="38"/>
                    </a:lnTo>
                    <a:lnTo>
                      <a:pt x="30" y="30"/>
                    </a:lnTo>
                    <a:lnTo>
                      <a:pt x="68" y="32"/>
                    </a:lnTo>
                    <a:lnTo>
                      <a:pt x="142" y="43"/>
                    </a:lnTo>
                    <a:lnTo>
                      <a:pt x="204" y="43"/>
                    </a:lnTo>
                    <a:lnTo>
                      <a:pt x="250" y="30"/>
                    </a:lnTo>
                    <a:lnTo>
                      <a:pt x="301" y="19"/>
                    </a:lnTo>
                    <a:lnTo>
                      <a:pt x="323" y="0"/>
                    </a:lnTo>
                    <a:lnTo>
                      <a:pt x="347" y="0"/>
                    </a:lnTo>
                    <a:lnTo>
                      <a:pt x="401" y="32"/>
                    </a:lnTo>
                    <a:lnTo>
                      <a:pt x="459" y="76"/>
                    </a:lnTo>
                    <a:lnTo>
                      <a:pt x="521" y="116"/>
                    </a:lnTo>
                    <a:lnTo>
                      <a:pt x="556" y="141"/>
                    </a:lnTo>
                    <a:lnTo>
                      <a:pt x="592" y="165"/>
                    </a:lnTo>
                    <a:lnTo>
                      <a:pt x="607" y="174"/>
                    </a:lnTo>
                    <a:lnTo>
                      <a:pt x="599" y="192"/>
                    </a:lnTo>
                    <a:lnTo>
                      <a:pt x="573" y="206"/>
                    </a:lnTo>
                    <a:lnTo>
                      <a:pt x="543" y="232"/>
                    </a:lnTo>
                    <a:lnTo>
                      <a:pt x="515" y="243"/>
                    </a:lnTo>
                    <a:lnTo>
                      <a:pt x="463" y="265"/>
                    </a:lnTo>
                    <a:lnTo>
                      <a:pt x="426" y="282"/>
                    </a:lnTo>
                    <a:lnTo>
                      <a:pt x="385" y="307"/>
                    </a:lnTo>
                    <a:lnTo>
                      <a:pt x="342" y="314"/>
                    </a:lnTo>
                    <a:lnTo>
                      <a:pt x="308" y="316"/>
                    </a:lnTo>
                    <a:lnTo>
                      <a:pt x="298" y="3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Freeform 422"/>
              <p:cNvSpPr>
                <a:spLocks/>
              </p:cNvSpPr>
              <p:nvPr/>
            </p:nvSpPr>
            <p:spPr bwMode="auto">
              <a:xfrm>
                <a:off x="4536" y="1528"/>
                <a:ext cx="48" cy="31"/>
              </a:xfrm>
              <a:custGeom>
                <a:avLst/>
                <a:gdLst>
                  <a:gd name="T0" fmla="*/ 162 w 192"/>
                  <a:gd name="T1" fmla="*/ 15 h 123"/>
                  <a:gd name="T2" fmla="*/ 122 w 192"/>
                  <a:gd name="T3" fmla="*/ 47 h 123"/>
                  <a:gd name="T4" fmla="*/ 84 w 192"/>
                  <a:gd name="T5" fmla="*/ 77 h 123"/>
                  <a:gd name="T6" fmla="*/ 30 w 192"/>
                  <a:gd name="T7" fmla="*/ 96 h 123"/>
                  <a:gd name="T8" fmla="*/ 0 w 192"/>
                  <a:gd name="T9" fmla="*/ 106 h 123"/>
                  <a:gd name="T10" fmla="*/ 24 w 192"/>
                  <a:gd name="T11" fmla="*/ 123 h 123"/>
                  <a:gd name="T12" fmla="*/ 63 w 192"/>
                  <a:gd name="T13" fmla="*/ 117 h 123"/>
                  <a:gd name="T14" fmla="*/ 123 w 192"/>
                  <a:gd name="T15" fmla="*/ 77 h 123"/>
                  <a:gd name="T16" fmla="*/ 192 w 192"/>
                  <a:gd name="T17" fmla="*/ 0 h 123"/>
                  <a:gd name="T18" fmla="*/ 162 w 192"/>
                  <a:gd name="T19" fmla="*/ 15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3"/>
                  <a:gd name="T32" fmla="*/ 192 w 192"/>
                  <a:gd name="T33" fmla="*/ 123 h 12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3">
                    <a:moveTo>
                      <a:pt x="162" y="15"/>
                    </a:moveTo>
                    <a:lnTo>
                      <a:pt x="122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6"/>
                    </a:lnTo>
                    <a:lnTo>
                      <a:pt x="24" y="123"/>
                    </a:lnTo>
                    <a:lnTo>
                      <a:pt x="63" y="117"/>
                    </a:lnTo>
                    <a:lnTo>
                      <a:pt x="123" y="77"/>
                    </a:lnTo>
                    <a:lnTo>
                      <a:pt x="192" y="0"/>
                    </a:lnTo>
                    <a:lnTo>
                      <a:pt x="162" y="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9" name="Group 441"/>
            <p:cNvGrpSpPr>
              <a:grpSpLocks/>
            </p:cNvGrpSpPr>
            <p:nvPr/>
          </p:nvGrpSpPr>
          <p:grpSpPr bwMode="auto">
            <a:xfrm>
              <a:off x="4513" y="1520"/>
              <a:ext cx="177" cy="400"/>
              <a:chOff x="4513" y="1520"/>
              <a:chExt cx="177" cy="400"/>
            </a:xfrm>
          </p:grpSpPr>
          <p:sp>
            <p:nvSpPr>
              <p:cNvPr id="113" name="Freeform 424"/>
              <p:cNvSpPr>
                <a:spLocks/>
              </p:cNvSpPr>
              <p:nvPr/>
            </p:nvSpPr>
            <p:spPr bwMode="auto">
              <a:xfrm>
                <a:off x="4517" y="1538"/>
                <a:ext cx="93" cy="377"/>
              </a:xfrm>
              <a:custGeom>
                <a:avLst/>
                <a:gdLst>
                  <a:gd name="T0" fmla="*/ 367 w 373"/>
                  <a:gd name="T1" fmla="*/ 271 h 1507"/>
                  <a:gd name="T2" fmla="*/ 373 w 373"/>
                  <a:gd name="T3" fmla="*/ 326 h 1507"/>
                  <a:gd name="T4" fmla="*/ 373 w 373"/>
                  <a:gd name="T5" fmla="*/ 625 h 1507"/>
                  <a:gd name="T6" fmla="*/ 346 w 373"/>
                  <a:gd name="T7" fmla="*/ 1026 h 1507"/>
                  <a:gd name="T8" fmla="*/ 349 w 373"/>
                  <a:gd name="T9" fmla="*/ 1282 h 1507"/>
                  <a:gd name="T10" fmla="*/ 362 w 373"/>
                  <a:gd name="T11" fmla="*/ 1458 h 1507"/>
                  <a:gd name="T12" fmla="*/ 349 w 373"/>
                  <a:gd name="T13" fmla="*/ 1507 h 1507"/>
                  <a:gd name="T14" fmla="*/ 327 w 373"/>
                  <a:gd name="T15" fmla="*/ 1497 h 1507"/>
                  <a:gd name="T16" fmla="*/ 201 w 373"/>
                  <a:gd name="T17" fmla="*/ 1399 h 1507"/>
                  <a:gd name="T18" fmla="*/ 169 w 373"/>
                  <a:gd name="T19" fmla="*/ 1380 h 1507"/>
                  <a:gd name="T20" fmla="*/ 149 w 373"/>
                  <a:gd name="T21" fmla="*/ 1353 h 1507"/>
                  <a:gd name="T22" fmla="*/ 117 w 373"/>
                  <a:gd name="T23" fmla="*/ 1315 h 1507"/>
                  <a:gd name="T24" fmla="*/ 74 w 373"/>
                  <a:gd name="T25" fmla="*/ 1277 h 1507"/>
                  <a:gd name="T26" fmla="*/ 52 w 373"/>
                  <a:gd name="T27" fmla="*/ 1225 h 1507"/>
                  <a:gd name="T28" fmla="*/ 0 w 373"/>
                  <a:gd name="T29" fmla="*/ 1181 h 1507"/>
                  <a:gd name="T30" fmla="*/ 0 w 373"/>
                  <a:gd name="T31" fmla="*/ 1154 h 1507"/>
                  <a:gd name="T32" fmla="*/ 28 w 373"/>
                  <a:gd name="T33" fmla="*/ 1120 h 1507"/>
                  <a:gd name="T34" fmla="*/ 39 w 373"/>
                  <a:gd name="T35" fmla="*/ 1075 h 1507"/>
                  <a:gd name="T36" fmla="*/ 33 w 373"/>
                  <a:gd name="T37" fmla="*/ 1051 h 1507"/>
                  <a:gd name="T38" fmla="*/ 20 w 373"/>
                  <a:gd name="T39" fmla="*/ 1013 h 1507"/>
                  <a:gd name="T40" fmla="*/ 15 w 373"/>
                  <a:gd name="T41" fmla="*/ 985 h 1507"/>
                  <a:gd name="T42" fmla="*/ 35 w 373"/>
                  <a:gd name="T43" fmla="*/ 942 h 1507"/>
                  <a:gd name="T44" fmla="*/ 35 w 373"/>
                  <a:gd name="T45" fmla="*/ 913 h 1507"/>
                  <a:gd name="T46" fmla="*/ 14 w 373"/>
                  <a:gd name="T47" fmla="*/ 856 h 1507"/>
                  <a:gd name="T48" fmla="*/ 14 w 373"/>
                  <a:gd name="T49" fmla="*/ 823 h 1507"/>
                  <a:gd name="T50" fmla="*/ 26 w 373"/>
                  <a:gd name="T51" fmla="*/ 798 h 1507"/>
                  <a:gd name="T52" fmla="*/ 47 w 373"/>
                  <a:gd name="T53" fmla="*/ 768 h 1507"/>
                  <a:gd name="T54" fmla="*/ 46 w 373"/>
                  <a:gd name="T55" fmla="*/ 716 h 1507"/>
                  <a:gd name="T56" fmla="*/ 33 w 373"/>
                  <a:gd name="T57" fmla="*/ 674 h 1507"/>
                  <a:gd name="T58" fmla="*/ 46 w 373"/>
                  <a:gd name="T59" fmla="*/ 625 h 1507"/>
                  <a:gd name="T60" fmla="*/ 58 w 373"/>
                  <a:gd name="T61" fmla="*/ 613 h 1507"/>
                  <a:gd name="T62" fmla="*/ 47 w 373"/>
                  <a:gd name="T63" fmla="*/ 567 h 1507"/>
                  <a:gd name="T64" fmla="*/ 20 w 373"/>
                  <a:gd name="T65" fmla="*/ 519 h 1507"/>
                  <a:gd name="T66" fmla="*/ 14 w 373"/>
                  <a:gd name="T67" fmla="*/ 488 h 1507"/>
                  <a:gd name="T68" fmla="*/ 20 w 373"/>
                  <a:gd name="T69" fmla="*/ 458 h 1507"/>
                  <a:gd name="T70" fmla="*/ 54 w 373"/>
                  <a:gd name="T71" fmla="*/ 432 h 1507"/>
                  <a:gd name="T72" fmla="*/ 52 w 373"/>
                  <a:gd name="T73" fmla="*/ 410 h 1507"/>
                  <a:gd name="T74" fmla="*/ 15 w 373"/>
                  <a:gd name="T75" fmla="*/ 342 h 1507"/>
                  <a:gd name="T76" fmla="*/ 3 w 373"/>
                  <a:gd name="T77" fmla="*/ 288 h 1507"/>
                  <a:gd name="T78" fmla="*/ 14 w 373"/>
                  <a:gd name="T79" fmla="*/ 258 h 1507"/>
                  <a:gd name="T80" fmla="*/ 47 w 373"/>
                  <a:gd name="T81" fmla="*/ 230 h 1507"/>
                  <a:gd name="T82" fmla="*/ 39 w 373"/>
                  <a:gd name="T83" fmla="*/ 206 h 1507"/>
                  <a:gd name="T84" fmla="*/ 15 w 373"/>
                  <a:gd name="T85" fmla="*/ 179 h 1507"/>
                  <a:gd name="T86" fmla="*/ 15 w 373"/>
                  <a:gd name="T87" fmla="*/ 149 h 1507"/>
                  <a:gd name="T88" fmla="*/ 54 w 373"/>
                  <a:gd name="T89" fmla="*/ 128 h 1507"/>
                  <a:gd name="T90" fmla="*/ 71 w 373"/>
                  <a:gd name="T91" fmla="*/ 107 h 1507"/>
                  <a:gd name="T92" fmla="*/ 39 w 373"/>
                  <a:gd name="T93" fmla="*/ 62 h 1507"/>
                  <a:gd name="T94" fmla="*/ 39 w 373"/>
                  <a:gd name="T95" fmla="*/ 38 h 1507"/>
                  <a:gd name="T96" fmla="*/ 77 w 373"/>
                  <a:gd name="T97" fmla="*/ 24 h 1507"/>
                  <a:gd name="T98" fmla="*/ 80 w 373"/>
                  <a:gd name="T99" fmla="*/ 0 h 1507"/>
                  <a:gd name="T100" fmla="*/ 123 w 373"/>
                  <a:gd name="T101" fmla="*/ 62 h 1507"/>
                  <a:gd name="T102" fmla="*/ 175 w 373"/>
                  <a:gd name="T103" fmla="*/ 127 h 1507"/>
                  <a:gd name="T104" fmla="*/ 239 w 373"/>
                  <a:gd name="T105" fmla="*/ 179 h 1507"/>
                  <a:gd name="T106" fmla="*/ 291 w 373"/>
                  <a:gd name="T107" fmla="*/ 219 h 1507"/>
                  <a:gd name="T108" fmla="*/ 346 w 373"/>
                  <a:gd name="T109" fmla="*/ 252 h 1507"/>
                  <a:gd name="T110" fmla="*/ 367 w 373"/>
                  <a:gd name="T111" fmla="*/ 271 h 150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3"/>
                  <a:gd name="T169" fmla="*/ 0 h 1507"/>
                  <a:gd name="T170" fmla="*/ 373 w 373"/>
                  <a:gd name="T171" fmla="*/ 1507 h 150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3" h="1507">
                    <a:moveTo>
                      <a:pt x="367" y="271"/>
                    </a:moveTo>
                    <a:lnTo>
                      <a:pt x="373" y="326"/>
                    </a:lnTo>
                    <a:lnTo>
                      <a:pt x="373" y="625"/>
                    </a:lnTo>
                    <a:lnTo>
                      <a:pt x="346" y="1026"/>
                    </a:lnTo>
                    <a:lnTo>
                      <a:pt x="349" y="1282"/>
                    </a:lnTo>
                    <a:lnTo>
                      <a:pt x="362" y="1458"/>
                    </a:lnTo>
                    <a:lnTo>
                      <a:pt x="349" y="1507"/>
                    </a:lnTo>
                    <a:lnTo>
                      <a:pt x="327" y="1497"/>
                    </a:lnTo>
                    <a:lnTo>
                      <a:pt x="201" y="1399"/>
                    </a:lnTo>
                    <a:lnTo>
                      <a:pt x="169" y="1380"/>
                    </a:lnTo>
                    <a:lnTo>
                      <a:pt x="149" y="1353"/>
                    </a:lnTo>
                    <a:lnTo>
                      <a:pt x="117" y="1315"/>
                    </a:lnTo>
                    <a:lnTo>
                      <a:pt x="74" y="1277"/>
                    </a:lnTo>
                    <a:lnTo>
                      <a:pt x="52" y="1225"/>
                    </a:lnTo>
                    <a:lnTo>
                      <a:pt x="0" y="1181"/>
                    </a:lnTo>
                    <a:lnTo>
                      <a:pt x="0" y="1154"/>
                    </a:lnTo>
                    <a:lnTo>
                      <a:pt x="28" y="1120"/>
                    </a:lnTo>
                    <a:lnTo>
                      <a:pt x="39" y="1075"/>
                    </a:lnTo>
                    <a:lnTo>
                      <a:pt x="33" y="1051"/>
                    </a:lnTo>
                    <a:lnTo>
                      <a:pt x="20" y="1013"/>
                    </a:lnTo>
                    <a:lnTo>
                      <a:pt x="15" y="985"/>
                    </a:lnTo>
                    <a:lnTo>
                      <a:pt x="35" y="942"/>
                    </a:lnTo>
                    <a:lnTo>
                      <a:pt x="35" y="913"/>
                    </a:lnTo>
                    <a:lnTo>
                      <a:pt x="14" y="856"/>
                    </a:lnTo>
                    <a:lnTo>
                      <a:pt x="14" y="823"/>
                    </a:lnTo>
                    <a:lnTo>
                      <a:pt x="26" y="798"/>
                    </a:lnTo>
                    <a:lnTo>
                      <a:pt x="47" y="768"/>
                    </a:lnTo>
                    <a:lnTo>
                      <a:pt x="46" y="716"/>
                    </a:lnTo>
                    <a:lnTo>
                      <a:pt x="33" y="674"/>
                    </a:lnTo>
                    <a:lnTo>
                      <a:pt x="46" y="625"/>
                    </a:lnTo>
                    <a:lnTo>
                      <a:pt x="58" y="613"/>
                    </a:lnTo>
                    <a:lnTo>
                      <a:pt x="47" y="567"/>
                    </a:lnTo>
                    <a:lnTo>
                      <a:pt x="20" y="519"/>
                    </a:lnTo>
                    <a:lnTo>
                      <a:pt x="14" y="488"/>
                    </a:lnTo>
                    <a:lnTo>
                      <a:pt x="20" y="458"/>
                    </a:lnTo>
                    <a:lnTo>
                      <a:pt x="54" y="432"/>
                    </a:lnTo>
                    <a:lnTo>
                      <a:pt x="52" y="410"/>
                    </a:lnTo>
                    <a:lnTo>
                      <a:pt x="15" y="342"/>
                    </a:lnTo>
                    <a:lnTo>
                      <a:pt x="3" y="288"/>
                    </a:lnTo>
                    <a:lnTo>
                      <a:pt x="14" y="258"/>
                    </a:lnTo>
                    <a:lnTo>
                      <a:pt x="47" y="230"/>
                    </a:lnTo>
                    <a:lnTo>
                      <a:pt x="39" y="206"/>
                    </a:lnTo>
                    <a:lnTo>
                      <a:pt x="15" y="179"/>
                    </a:lnTo>
                    <a:lnTo>
                      <a:pt x="15" y="149"/>
                    </a:lnTo>
                    <a:lnTo>
                      <a:pt x="54" y="128"/>
                    </a:lnTo>
                    <a:lnTo>
                      <a:pt x="71" y="107"/>
                    </a:lnTo>
                    <a:lnTo>
                      <a:pt x="39" y="62"/>
                    </a:lnTo>
                    <a:lnTo>
                      <a:pt x="39" y="38"/>
                    </a:lnTo>
                    <a:lnTo>
                      <a:pt x="77" y="24"/>
                    </a:lnTo>
                    <a:lnTo>
                      <a:pt x="80" y="0"/>
                    </a:lnTo>
                    <a:lnTo>
                      <a:pt x="123" y="62"/>
                    </a:lnTo>
                    <a:lnTo>
                      <a:pt x="175" y="127"/>
                    </a:lnTo>
                    <a:lnTo>
                      <a:pt x="239" y="179"/>
                    </a:lnTo>
                    <a:lnTo>
                      <a:pt x="291" y="219"/>
                    </a:lnTo>
                    <a:lnTo>
                      <a:pt x="346" y="252"/>
                    </a:lnTo>
                    <a:lnTo>
                      <a:pt x="367" y="27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" name="Freeform 425"/>
              <p:cNvSpPr>
                <a:spLocks/>
              </p:cNvSpPr>
              <p:nvPr/>
            </p:nvSpPr>
            <p:spPr bwMode="auto">
              <a:xfrm>
                <a:off x="4513" y="1543"/>
                <a:ext cx="27" cy="288"/>
              </a:xfrm>
              <a:custGeom>
                <a:avLst/>
                <a:gdLst>
                  <a:gd name="T0" fmla="*/ 73 w 107"/>
                  <a:gd name="T1" fmla="*/ 39 h 1149"/>
                  <a:gd name="T2" fmla="*/ 107 w 107"/>
                  <a:gd name="T3" fmla="*/ 80 h 1149"/>
                  <a:gd name="T4" fmla="*/ 86 w 107"/>
                  <a:gd name="T5" fmla="*/ 112 h 1149"/>
                  <a:gd name="T6" fmla="*/ 41 w 107"/>
                  <a:gd name="T7" fmla="*/ 135 h 1149"/>
                  <a:gd name="T8" fmla="*/ 59 w 107"/>
                  <a:gd name="T9" fmla="*/ 167 h 1149"/>
                  <a:gd name="T10" fmla="*/ 79 w 107"/>
                  <a:gd name="T11" fmla="*/ 208 h 1149"/>
                  <a:gd name="T12" fmla="*/ 54 w 107"/>
                  <a:gd name="T13" fmla="*/ 235 h 1149"/>
                  <a:gd name="T14" fmla="*/ 32 w 107"/>
                  <a:gd name="T15" fmla="*/ 267 h 1149"/>
                  <a:gd name="T16" fmla="*/ 54 w 107"/>
                  <a:gd name="T17" fmla="*/ 325 h 1149"/>
                  <a:gd name="T18" fmla="*/ 79 w 107"/>
                  <a:gd name="T19" fmla="*/ 376 h 1149"/>
                  <a:gd name="T20" fmla="*/ 73 w 107"/>
                  <a:gd name="T21" fmla="*/ 422 h 1149"/>
                  <a:gd name="T22" fmla="*/ 41 w 107"/>
                  <a:gd name="T23" fmla="*/ 460 h 1149"/>
                  <a:gd name="T24" fmla="*/ 78 w 107"/>
                  <a:gd name="T25" fmla="*/ 542 h 1149"/>
                  <a:gd name="T26" fmla="*/ 93 w 107"/>
                  <a:gd name="T27" fmla="*/ 593 h 1149"/>
                  <a:gd name="T28" fmla="*/ 65 w 107"/>
                  <a:gd name="T29" fmla="*/ 632 h 1149"/>
                  <a:gd name="T30" fmla="*/ 71 w 107"/>
                  <a:gd name="T31" fmla="*/ 691 h 1149"/>
                  <a:gd name="T32" fmla="*/ 90 w 107"/>
                  <a:gd name="T33" fmla="*/ 748 h 1149"/>
                  <a:gd name="T34" fmla="*/ 67 w 107"/>
                  <a:gd name="T35" fmla="*/ 781 h 1149"/>
                  <a:gd name="T36" fmla="*/ 35 w 107"/>
                  <a:gd name="T37" fmla="*/ 819 h 1149"/>
                  <a:gd name="T38" fmla="*/ 67 w 107"/>
                  <a:gd name="T39" fmla="*/ 890 h 1149"/>
                  <a:gd name="T40" fmla="*/ 79 w 107"/>
                  <a:gd name="T41" fmla="*/ 938 h 1149"/>
                  <a:gd name="T42" fmla="*/ 52 w 107"/>
                  <a:gd name="T43" fmla="*/ 949 h 1149"/>
                  <a:gd name="T44" fmla="*/ 59 w 107"/>
                  <a:gd name="T45" fmla="*/ 1026 h 1149"/>
                  <a:gd name="T46" fmla="*/ 73 w 107"/>
                  <a:gd name="T47" fmla="*/ 1066 h 1149"/>
                  <a:gd name="T48" fmla="*/ 52 w 107"/>
                  <a:gd name="T49" fmla="*/ 1112 h 1149"/>
                  <a:gd name="T50" fmla="*/ 2 w 107"/>
                  <a:gd name="T51" fmla="*/ 1136 h 1149"/>
                  <a:gd name="T52" fmla="*/ 40 w 107"/>
                  <a:gd name="T53" fmla="*/ 1058 h 1149"/>
                  <a:gd name="T54" fmla="*/ 22 w 107"/>
                  <a:gd name="T55" fmla="*/ 993 h 1149"/>
                  <a:gd name="T56" fmla="*/ 26 w 107"/>
                  <a:gd name="T57" fmla="*/ 938 h 1149"/>
                  <a:gd name="T58" fmla="*/ 41 w 107"/>
                  <a:gd name="T59" fmla="*/ 910 h 1149"/>
                  <a:gd name="T60" fmla="*/ 10 w 107"/>
                  <a:gd name="T61" fmla="*/ 841 h 1149"/>
                  <a:gd name="T62" fmla="*/ 10 w 107"/>
                  <a:gd name="T63" fmla="*/ 770 h 1149"/>
                  <a:gd name="T64" fmla="*/ 48 w 107"/>
                  <a:gd name="T65" fmla="*/ 738 h 1149"/>
                  <a:gd name="T66" fmla="*/ 40 w 107"/>
                  <a:gd name="T67" fmla="*/ 686 h 1149"/>
                  <a:gd name="T68" fmla="*/ 29 w 107"/>
                  <a:gd name="T69" fmla="*/ 626 h 1149"/>
                  <a:gd name="T70" fmla="*/ 59 w 107"/>
                  <a:gd name="T71" fmla="*/ 587 h 1149"/>
                  <a:gd name="T72" fmla="*/ 46 w 107"/>
                  <a:gd name="T73" fmla="*/ 544 h 1149"/>
                  <a:gd name="T74" fmla="*/ 10 w 107"/>
                  <a:gd name="T75" fmla="*/ 477 h 1149"/>
                  <a:gd name="T76" fmla="*/ 16 w 107"/>
                  <a:gd name="T77" fmla="*/ 433 h 1149"/>
                  <a:gd name="T78" fmla="*/ 48 w 107"/>
                  <a:gd name="T79" fmla="*/ 395 h 1149"/>
                  <a:gd name="T80" fmla="*/ 13 w 107"/>
                  <a:gd name="T81" fmla="*/ 310 h 1149"/>
                  <a:gd name="T82" fmla="*/ 0 w 107"/>
                  <a:gd name="T83" fmla="*/ 260 h 1149"/>
                  <a:gd name="T84" fmla="*/ 29 w 107"/>
                  <a:gd name="T85" fmla="*/ 221 h 1149"/>
                  <a:gd name="T86" fmla="*/ 41 w 107"/>
                  <a:gd name="T87" fmla="*/ 196 h 1149"/>
                  <a:gd name="T88" fmla="*/ 10 w 107"/>
                  <a:gd name="T89" fmla="*/ 155 h 1149"/>
                  <a:gd name="T90" fmla="*/ 22 w 107"/>
                  <a:gd name="T91" fmla="*/ 116 h 1149"/>
                  <a:gd name="T92" fmla="*/ 59 w 107"/>
                  <a:gd name="T93" fmla="*/ 91 h 1149"/>
                  <a:gd name="T94" fmla="*/ 60 w 107"/>
                  <a:gd name="T95" fmla="*/ 60 h 1149"/>
                  <a:gd name="T96" fmla="*/ 41 w 107"/>
                  <a:gd name="T97" fmla="*/ 21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7"/>
                  <a:gd name="T148" fmla="*/ 0 h 1149"/>
                  <a:gd name="T149" fmla="*/ 107 w 107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7" h="1149">
                    <a:moveTo>
                      <a:pt x="54" y="0"/>
                    </a:moveTo>
                    <a:lnTo>
                      <a:pt x="73" y="39"/>
                    </a:lnTo>
                    <a:lnTo>
                      <a:pt x="90" y="64"/>
                    </a:lnTo>
                    <a:lnTo>
                      <a:pt x="107" y="80"/>
                    </a:lnTo>
                    <a:lnTo>
                      <a:pt x="103" y="99"/>
                    </a:lnTo>
                    <a:lnTo>
                      <a:pt x="86" y="112"/>
                    </a:lnTo>
                    <a:lnTo>
                      <a:pt x="60" y="118"/>
                    </a:lnTo>
                    <a:lnTo>
                      <a:pt x="41" y="135"/>
                    </a:lnTo>
                    <a:lnTo>
                      <a:pt x="46" y="155"/>
                    </a:lnTo>
                    <a:lnTo>
                      <a:pt x="59" y="167"/>
                    </a:lnTo>
                    <a:lnTo>
                      <a:pt x="79" y="194"/>
                    </a:lnTo>
                    <a:lnTo>
                      <a:pt x="79" y="208"/>
                    </a:lnTo>
                    <a:lnTo>
                      <a:pt x="73" y="221"/>
                    </a:lnTo>
                    <a:lnTo>
                      <a:pt x="54" y="235"/>
                    </a:lnTo>
                    <a:lnTo>
                      <a:pt x="35" y="248"/>
                    </a:lnTo>
                    <a:lnTo>
                      <a:pt x="32" y="267"/>
                    </a:lnTo>
                    <a:lnTo>
                      <a:pt x="40" y="286"/>
                    </a:lnTo>
                    <a:lnTo>
                      <a:pt x="54" y="325"/>
                    </a:lnTo>
                    <a:lnTo>
                      <a:pt x="67" y="355"/>
                    </a:lnTo>
                    <a:lnTo>
                      <a:pt x="79" y="376"/>
                    </a:lnTo>
                    <a:lnTo>
                      <a:pt x="79" y="400"/>
                    </a:lnTo>
                    <a:lnTo>
                      <a:pt x="73" y="422"/>
                    </a:lnTo>
                    <a:lnTo>
                      <a:pt x="54" y="441"/>
                    </a:lnTo>
                    <a:lnTo>
                      <a:pt x="41" y="460"/>
                    </a:lnTo>
                    <a:lnTo>
                      <a:pt x="46" y="493"/>
                    </a:lnTo>
                    <a:lnTo>
                      <a:pt x="78" y="542"/>
                    </a:lnTo>
                    <a:lnTo>
                      <a:pt x="90" y="568"/>
                    </a:lnTo>
                    <a:lnTo>
                      <a:pt x="93" y="593"/>
                    </a:lnTo>
                    <a:lnTo>
                      <a:pt x="79" y="613"/>
                    </a:lnTo>
                    <a:lnTo>
                      <a:pt x="65" y="632"/>
                    </a:lnTo>
                    <a:lnTo>
                      <a:pt x="60" y="658"/>
                    </a:lnTo>
                    <a:lnTo>
                      <a:pt x="71" y="691"/>
                    </a:lnTo>
                    <a:lnTo>
                      <a:pt x="84" y="724"/>
                    </a:lnTo>
                    <a:lnTo>
                      <a:pt x="90" y="748"/>
                    </a:lnTo>
                    <a:lnTo>
                      <a:pt x="84" y="764"/>
                    </a:lnTo>
                    <a:lnTo>
                      <a:pt x="67" y="781"/>
                    </a:lnTo>
                    <a:lnTo>
                      <a:pt x="46" y="800"/>
                    </a:lnTo>
                    <a:lnTo>
                      <a:pt x="35" y="819"/>
                    </a:lnTo>
                    <a:lnTo>
                      <a:pt x="46" y="854"/>
                    </a:lnTo>
                    <a:lnTo>
                      <a:pt x="67" y="890"/>
                    </a:lnTo>
                    <a:lnTo>
                      <a:pt x="78" y="916"/>
                    </a:lnTo>
                    <a:lnTo>
                      <a:pt x="79" y="938"/>
                    </a:lnTo>
                    <a:lnTo>
                      <a:pt x="73" y="949"/>
                    </a:lnTo>
                    <a:lnTo>
                      <a:pt x="52" y="949"/>
                    </a:lnTo>
                    <a:lnTo>
                      <a:pt x="46" y="996"/>
                    </a:lnTo>
                    <a:lnTo>
                      <a:pt x="59" y="1026"/>
                    </a:lnTo>
                    <a:lnTo>
                      <a:pt x="71" y="1047"/>
                    </a:lnTo>
                    <a:lnTo>
                      <a:pt x="73" y="1066"/>
                    </a:lnTo>
                    <a:lnTo>
                      <a:pt x="73" y="1084"/>
                    </a:lnTo>
                    <a:lnTo>
                      <a:pt x="52" y="1112"/>
                    </a:lnTo>
                    <a:lnTo>
                      <a:pt x="22" y="1149"/>
                    </a:lnTo>
                    <a:lnTo>
                      <a:pt x="2" y="1136"/>
                    </a:lnTo>
                    <a:lnTo>
                      <a:pt x="10" y="1106"/>
                    </a:lnTo>
                    <a:lnTo>
                      <a:pt x="40" y="1058"/>
                    </a:lnTo>
                    <a:lnTo>
                      <a:pt x="35" y="1028"/>
                    </a:lnTo>
                    <a:lnTo>
                      <a:pt x="22" y="993"/>
                    </a:lnTo>
                    <a:lnTo>
                      <a:pt x="13" y="963"/>
                    </a:lnTo>
                    <a:lnTo>
                      <a:pt x="26" y="938"/>
                    </a:lnTo>
                    <a:lnTo>
                      <a:pt x="40" y="930"/>
                    </a:lnTo>
                    <a:lnTo>
                      <a:pt x="41" y="910"/>
                    </a:lnTo>
                    <a:lnTo>
                      <a:pt x="26" y="873"/>
                    </a:lnTo>
                    <a:lnTo>
                      <a:pt x="10" y="841"/>
                    </a:lnTo>
                    <a:lnTo>
                      <a:pt x="0" y="808"/>
                    </a:lnTo>
                    <a:lnTo>
                      <a:pt x="10" y="770"/>
                    </a:lnTo>
                    <a:lnTo>
                      <a:pt x="40" y="756"/>
                    </a:lnTo>
                    <a:lnTo>
                      <a:pt x="48" y="738"/>
                    </a:lnTo>
                    <a:lnTo>
                      <a:pt x="46" y="712"/>
                    </a:lnTo>
                    <a:lnTo>
                      <a:pt x="40" y="686"/>
                    </a:lnTo>
                    <a:lnTo>
                      <a:pt x="29" y="652"/>
                    </a:lnTo>
                    <a:lnTo>
                      <a:pt x="29" y="626"/>
                    </a:lnTo>
                    <a:lnTo>
                      <a:pt x="41" y="609"/>
                    </a:lnTo>
                    <a:lnTo>
                      <a:pt x="59" y="587"/>
                    </a:lnTo>
                    <a:lnTo>
                      <a:pt x="59" y="574"/>
                    </a:lnTo>
                    <a:lnTo>
                      <a:pt x="46" y="544"/>
                    </a:lnTo>
                    <a:lnTo>
                      <a:pt x="20" y="506"/>
                    </a:lnTo>
                    <a:lnTo>
                      <a:pt x="10" y="477"/>
                    </a:lnTo>
                    <a:lnTo>
                      <a:pt x="10" y="454"/>
                    </a:lnTo>
                    <a:lnTo>
                      <a:pt x="16" y="433"/>
                    </a:lnTo>
                    <a:lnTo>
                      <a:pt x="32" y="415"/>
                    </a:lnTo>
                    <a:lnTo>
                      <a:pt x="48" y="395"/>
                    </a:lnTo>
                    <a:lnTo>
                      <a:pt x="48" y="381"/>
                    </a:lnTo>
                    <a:lnTo>
                      <a:pt x="13" y="310"/>
                    </a:lnTo>
                    <a:lnTo>
                      <a:pt x="7" y="284"/>
                    </a:lnTo>
                    <a:lnTo>
                      <a:pt x="0" y="260"/>
                    </a:lnTo>
                    <a:lnTo>
                      <a:pt x="13" y="238"/>
                    </a:lnTo>
                    <a:lnTo>
                      <a:pt x="29" y="221"/>
                    </a:lnTo>
                    <a:lnTo>
                      <a:pt x="41" y="208"/>
                    </a:lnTo>
                    <a:lnTo>
                      <a:pt x="41" y="196"/>
                    </a:lnTo>
                    <a:lnTo>
                      <a:pt x="29" y="176"/>
                    </a:lnTo>
                    <a:lnTo>
                      <a:pt x="10" y="155"/>
                    </a:lnTo>
                    <a:lnTo>
                      <a:pt x="10" y="135"/>
                    </a:lnTo>
                    <a:lnTo>
                      <a:pt x="22" y="116"/>
                    </a:lnTo>
                    <a:lnTo>
                      <a:pt x="41" y="99"/>
                    </a:lnTo>
                    <a:lnTo>
                      <a:pt x="59" y="91"/>
                    </a:lnTo>
                    <a:lnTo>
                      <a:pt x="67" y="77"/>
                    </a:lnTo>
                    <a:lnTo>
                      <a:pt x="60" y="60"/>
                    </a:lnTo>
                    <a:lnTo>
                      <a:pt x="48" y="41"/>
                    </a:lnTo>
                    <a:lnTo>
                      <a:pt x="41" y="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5" name="Freeform 426"/>
              <p:cNvSpPr>
                <a:spLocks/>
              </p:cNvSpPr>
              <p:nvPr/>
            </p:nvSpPr>
            <p:spPr bwMode="auto">
              <a:xfrm>
                <a:off x="4586" y="1613"/>
                <a:ext cx="25" cy="233"/>
              </a:xfrm>
              <a:custGeom>
                <a:avLst/>
                <a:gdLst>
                  <a:gd name="T0" fmla="*/ 91 w 102"/>
                  <a:gd name="T1" fmla="*/ 27 h 929"/>
                  <a:gd name="T2" fmla="*/ 96 w 102"/>
                  <a:gd name="T3" fmla="*/ 90 h 929"/>
                  <a:gd name="T4" fmla="*/ 52 w 102"/>
                  <a:gd name="T5" fmla="*/ 117 h 929"/>
                  <a:gd name="T6" fmla="*/ 66 w 102"/>
                  <a:gd name="T7" fmla="*/ 187 h 929"/>
                  <a:gd name="T8" fmla="*/ 85 w 102"/>
                  <a:gd name="T9" fmla="*/ 256 h 929"/>
                  <a:gd name="T10" fmla="*/ 58 w 102"/>
                  <a:gd name="T11" fmla="*/ 291 h 929"/>
                  <a:gd name="T12" fmla="*/ 66 w 102"/>
                  <a:gd name="T13" fmla="*/ 348 h 929"/>
                  <a:gd name="T14" fmla="*/ 85 w 102"/>
                  <a:gd name="T15" fmla="*/ 411 h 929"/>
                  <a:gd name="T16" fmla="*/ 72 w 102"/>
                  <a:gd name="T17" fmla="*/ 456 h 929"/>
                  <a:gd name="T18" fmla="*/ 50 w 102"/>
                  <a:gd name="T19" fmla="*/ 497 h 929"/>
                  <a:gd name="T20" fmla="*/ 79 w 102"/>
                  <a:gd name="T21" fmla="*/ 579 h 929"/>
                  <a:gd name="T22" fmla="*/ 85 w 102"/>
                  <a:gd name="T23" fmla="*/ 633 h 929"/>
                  <a:gd name="T24" fmla="*/ 37 w 102"/>
                  <a:gd name="T25" fmla="*/ 671 h 929"/>
                  <a:gd name="T26" fmla="*/ 50 w 102"/>
                  <a:gd name="T27" fmla="*/ 753 h 929"/>
                  <a:gd name="T28" fmla="*/ 63 w 102"/>
                  <a:gd name="T29" fmla="*/ 824 h 929"/>
                  <a:gd name="T30" fmla="*/ 37 w 102"/>
                  <a:gd name="T31" fmla="*/ 864 h 929"/>
                  <a:gd name="T32" fmla="*/ 24 w 102"/>
                  <a:gd name="T33" fmla="*/ 921 h 929"/>
                  <a:gd name="T34" fmla="*/ 10 w 102"/>
                  <a:gd name="T35" fmla="*/ 897 h 929"/>
                  <a:gd name="T36" fmla="*/ 37 w 102"/>
                  <a:gd name="T37" fmla="*/ 832 h 929"/>
                  <a:gd name="T38" fmla="*/ 24 w 102"/>
                  <a:gd name="T39" fmla="*/ 736 h 929"/>
                  <a:gd name="T40" fmla="*/ 18 w 102"/>
                  <a:gd name="T41" fmla="*/ 665 h 929"/>
                  <a:gd name="T42" fmla="*/ 52 w 102"/>
                  <a:gd name="T43" fmla="*/ 617 h 929"/>
                  <a:gd name="T44" fmla="*/ 24 w 102"/>
                  <a:gd name="T45" fmla="*/ 549 h 929"/>
                  <a:gd name="T46" fmla="*/ 18 w 102"/>
                  <a:gd name="T47" fmla="*/ 484 h 929"/>
                  <a:gd name="T48" fmla="*/ 44 w 102"/>
                  <a:gd name="T49" fmla="*/ 432 h 929"/>
                  <a:gd name="T50" fmla="*/ 56 w 102"/>
                  <a:gd name="T51" fmla="*/ 394 h 929"/>
                  <a:gd name="T52" fmla="*/ 31 w 102"/>
                  <a:gd name="T53" fmla="*/ 329 h 929"/>
                  <a:gd name="T54" fmla="*/ 37 w 102"/>
                  <a:gd name="T55" fmla="*/ 275 h 929"/>
                  <a:gd name="T56" fmla="*/ 52 w 102"/>
                  <a:gd name="T57" fmla="*/ 237 h 929"/>
                  <a:gd name="T58" fmla="*/ 33 w 102"/>
                  <a:gd name="T59" fmla="*/ 179 h 929"/>
                  <a:gd name="T60" fmla="*/ 26 w 102"/>
                  <a:gd name="T61" fmla="*/ 114 h 929"/>
                  <a:gd name="T62" fmla="*/ 56 w 102"/>
                  <a:gd name="T63" fmla="*/ 71 h 929"/>
                  <a:gd name="T64" fmla="*/ 58 w 102"/>
                  <a:gd name="T65" fmla="*/ 30 h 929"/>
                  <a:gd name="T66" fmla="*/ 79 w 102"/>
                  <a:gd name="T67" fmla="*/ 0 h 9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2"/>
                  <a:gd name="T103" fmla="*/ 0 h 929"/>
                  <a:gd name="T104" fmla="*/ 102 w 102"/>
                  <a:gd name="T105" fmla="*/ 929 h 9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2" h="929">
                    <a:moveTo>
                      <a:pt x="79" y="0"/>
                    </a:moveTo>
                    <a:lnTo>
                      <a:pt x="91" y="27"/>
                    </a:lnTo>
                    <a:lnTo>
                      <a:pt x="102" y="71"/>
                    </a:lnTo>
                    <a:lnTo>
                      <a:pt x="96" y="90"/>
                    </a:lnTo>
                    <a:lnTo>
                      <a:pt x="69" y="103"/>
                    </a:lnTo>
                    <a:lnTo>
                      <a:pt x="52" y="117"/>
                    </a:lnTo>
                    <a:lnTo>
                      <a:pt x="52" y="153"/>
                    </a:lnTo>
                    <a:lnTo>
                      <a:pt x="66" y="187"/>
                    </a:lnTo>
                    <a:lnTo>
                      <a:pt x="83" y="211"/>
                    </a:lnTo>
                    <a:lnTo>
                      <a:pt x="85" y="256"/>
                    </a:lnTo>
                    <a:lnTo>
                      <a:pt x="77" y="271"/>
                    </a:lnTo>
                    <a:lnTo>
                      <a:pt x="58" y="291"/>
                    </a:lnTo>
                    <a:lnTo>
                      <a:pt x="56" y="321"/>
                    </a:lnTo>
                    <a:lnTo>
                      <a:pt x="66" y="348"/>
                    </a:lnTo>
                    <a:lnTo>
                      <a:pt x="79" y="372"/>
                    </a:lnTo>
                    <a:lnTo>
                      <a:pt x="85" y="411"/>
                    </a:lnTo>
                    <a:lnTo>
                      <a:pt x="85" y="432"/>
                    </a:lnTo>
                    <a:lnTo>
                      <a:pt x="72" y="456"/>
                    </a:lnTo>
                    <a:lnTo>
                      <a:pt x="50" y="478"/>
                    </a:lnTo>
                    <a:lnTo>
                      <a:pt x="50" y="497"/>
                    </a:lnTo>
                    <a:lnTo>
                      <a:pt x="56" y="555"/>
                    </a:lnTo>
                    <a:lnTo>
                      <a:pt x="79" y="579"/>
                    </a:lnTo>
                    <a:lnTo>
                      <a:pt x="91" y="604"/>
                    </a:lnTo>
                    <a:lnTo>
                      <a:pt x="85" y="633"/>
                    </a:lnTo>
                    <a:lnTo>
                      <a:pt x="52" y="652"/>
                    </a:lnTo>
                    <a:lnTo>
                      <a:pt x="37" y="671"/>
                    </a:lnTo>
                    <a:lnTo>
                      <a:pt x="33" y="707"/>
                    </a:lnTo>
                    <a:lnTo>
                      <a:pt x="50" y="753"/>
                    </a:lnTo>
                    <a:lnTo>
                      <a:pt x="63" y="798"/>
                    </a:lnTo>
                    <a:lnTo>
                      <a:pt x="63" y="824"/>
                    </a:lnTo>
                    <a:lnTo>
                      <a:pt x="56" y="858"/>
                    </a:lnTo>
                    <a:lnTo>
                      <a:pt x="37" y="864"/>
                    </a:lnTo>
                    <a:lnTo>
                      <a:pt x="24" y="891"/>
                    </a:lnTo>
                    <a:lnTo>
                      <a:pt x="24" y="921"/>
                    </a:lnTo>
                    <a:lnTo>
                      <a:pt x="0" y="929"/>
                    </a:lnTo>
                    <a:lnTo>
                      <a:pt x="10" y="897"/>
                    </a:lnTo>
                    <a:lnTo>
                      <a:pt x="31" y="858"/>
                    </a:lnTo>
                    <a:lnTo>
                      <a:pt x="37" y="832"/>
                    </a:lnTo>
                    <a:lnTo>
                      <a:pt x="37" y="780"/>
                    </a:lnTo>
                    <a:lnTo>
                      <a:pt x="24" y="736"/>
                    </a:lnTo>
                    <a:lnTo>
                      <a:pt x="20" y="701"/>
                    </a:lnTo>
                    <a:lnTo>
                      <a:pt x="18" y="665"/>
                    </a:lnTo>
                    <a:lnTo>
                      <a:pt x="39" y="636"/>
                    </a:lnTo>
                    <a:lnTo>
                      <a:pt x="52" y="617"/>
                    </a:lnTo>
                    <a:lnTo>
                      <a:pt x="44" y="579"/>
                    </a:lnTo>
                    <a:lnTo>
                      <a:pt x="24" y="549"/>
                    </a:lnTo>
                    <a:lnTo>
                      <a:pt x="20" y="522"/>
                    </a:lnTo>
                    <a:lnTo>
                      <a:pt x="18" y="484"/>
                    </a:lnTo>
                    <a:lnTo>
                      <a:pt x="26" y="459"/>
                    </a:lnTo>
                    <a:lnTo>
                      <a:pt x="44" y="432"/>
                    </a:lnTo>
                    <a:lnTo>
                      <a:pt x="56" y="413"/>
                    </a:lnTo>
                    <a:lnTo>
                      <a:pt x="56" y="394"/>
                    </a:lnTo>
                    <a:lnTo>
                      <a:pt x="44" y="372"/>
                    </a:lnTo>
                    <a:lnTo>
                      <a:pt x="31" y="329"/>
                    </a:lnTo>
                    <a:lnTo>
                      <a:pt x="31" y="301"/>
                    </a:lnTo>
                    <a:lnTo>
                      <a:pt x="37" y="275"/>
                    </a:lnTo>
                    <a:lnTo>
                      <a:pt x="50" y="256"/>
                    </a:lnTo>
                    <a:lnTo>
                      <a:pt x="52" y="237"/>
                    </a:lnTo>
                    <a:lnTo>
                      <a:pt x="50" y="213"/>
                    </a:lnTo>
                    <a:lnTo>
                      <a:pt x="33" y="179"/>
                    </a:lnTo>
                    <a:lnTo>
                      <a:pt x="24" y="155"/>
                    </a:lnTo>
                    <a:lnTo>
                      <a:pt x="26" y="114"/>
                    </a:lnTo>
                    <a:lnTo>
                      <a:pt x="39" y="97"/>
                    </a:lnTo>
                    <a:lnTo>
                      <a:pt x="56" y="71"/>
                    </a:lnTo>
                    <a:lnTo>
                      <a:pt x="66" y="49"/>
                    </a:lnTo>
                    <a:lnTo>
                      <a:pt x="58" y="30"/>
                    </a:lnTo>
                    <a:lnTo>
                      <a:pt x="63" y="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6" name="Freeform 427"/>
              <p:cNvSpPr>
                <a:spLocks/>
              </p:cNvSpPr>
              <p:nvPr/>
            </p:nvSpPr>
            <p:spPr bwMode="auto">
              <a:xfrm>
                <a:off x="4545" y="1585"/>
                <a:ext cx="59" cy="50"/>
              </a:xfrm>
              <a:custGeom>
                <a:avLst/>
                <a:gdLst>
                  <a:gd name="T0" fmla="*/ 233 w 233"/>
                  <a:gd name="T1" fmla="*/ 162 h 201"/>
                  <a:gd name="T2" fmla="*/ 162 w 233"/>
                  <a:gd name="T3" fmla="*/ 105 h 201"/>
                  <a:gd name="T4" fmla="*/ 103 w 233"/>
                  <a:gd name="T5" fmla="*/ 52 h 201"/>
                  <a:gd name="T6" fmla="*/ 49 w 233"/>
                  <a:gd name="T7" fmla="*/ 0 h 201"/>
                  <a:gd name="T8" fmla="*/ 0 w 233"/>
                  <a:gd name="T9" fmla="*/ 0 h 201"/>
                  <a:gd name="T10" fmla="*/ 116 w 233"/>
                  <a:gd name="T11" fmla="*/ 84 h 201"/>
                  <a:gd name="T12" fmla="*/ 173 w 233"/>
                  <a:gd name="T13" fmla="*/ 137 h 201"/>
                  <a:gd name="T14" fmla="*/ 219 w 233"/>
                  <a:gd name="T15" fmla="*/ 201 h 201"/>
                  <a:gd name="T16" fmla="*/ 233 w 233"/>
                  <a:gd name="T17" fmla="*/ 162 h 20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3"/>
                  <a:gd name="T28" fmla="*/ 0 h 201"/>
                  <a:gd name="T29" fmla="*/ 233 w 233"/>
                  <a:gd name="T30" fmla="*/ 201 h 20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3" h="201">
                    <a:moveTo>
                      <a:pt x="233" y="162"/>
                    </a:moveTo>
                    <a:lnTo>
                      <a:pt x="162" y="105"/>
                    </a:lnTo>
                    <a:lnTo>
                      <a:pt x="103" y="52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116" y="84"/>
                    </a:lnTo>
                    <a:lnTo>
                      <a:pt x="173" y="137"/>
                    </a:lnTo>
                    <a:lnTo>
                      <a:pt x="219" y="201"/>
                    </a:lnTo>
                    <a:lnTo>
                      <a:pt x="233" y="1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" name="Freeform 428"/>
              <p:cNvSpPr>
                <a:spLocks/>
              </p:cNvSpPr>
              <p:nvPr/>
            </p:nvSpPr>
            <p:spPr bwMode="auto">
              <a:xfrm>
                <a:off x="4545" y="1614"/>
                <a:ext cx="50" cy="41"/>
              </a:xfrm>
              <a:custGeom>
                <a:avLst/>
                <a:gdLst>
                  <a:gd name="T0" fmla="*/ 201 w 201"/>
                  <a:gd name="T1" fmla="*/ 103 h 163"/>
                  <a:gd name="T2" fmla="*/ 149 w 201"/>
                  <a:gd name="T3" fmla="*/ 84 h 163"/>
                  <a:gd name="T4" fmla="*/ 111 w 201"/>
                  <a:gd name="T5" fmla="*/ 51 h 163"/>
                  <a:gd name="T6" fmla="*/ 40 w 201"/>
                  <a:gd name="T7" fmla="*/ 0 h 163"/>
                  <a:gd name="T8" fmla="*/ 0 w 201"/>
                  <a:gd name="T9" fmla="*/ 0 h 163"/>
                  <a:gd name="T10" fmla="*/ 92 w 201"/>
                  <a:gd name="T11" fmla="*/ 51 h 163"/>
                  <a:gd name="T12" fmla="*/ 126 w 201"/>
                  <a:gd name="T13" fmla="*/ 86 h 163"/>
                  <a:gd name="T14" fmla="*/ 201 w 201"/>
                  <a:gd name="T15" fmla="*/ 163 h 163"/>
                  <a:gd name="T16" fmla="*/ 197 w 201"/>
                  <a:gd name="T17" fmla="*/ 116 h 163"/>
                  <a:gd name="T18" fmla="*/ 201 w 201"/>
                  <a:gd name="T19" fmla="*/ 103 h 1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1"/>
                  <a:gd name="T31" fmla="*/ 0 h 163"/>
                  <a:gd name="T32" fmla="*/ 201 w 201"/>
                  <a:gd name="T33" fmla="*/ 163 h 1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1" h="163">
                    <a:moveTo>
                      <a:pt x="201" y="103"/>
                    </a:moveTo>
                    <a:lnTo>
                      <a:pt x="149" y="84"/>
                    </a:lnTo>
                    <a:lnTo>
                      <a:pt x="111" y="51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92" y="51"/>
                    </a:lnTo>
                    <a:lnTo>
                      <a:pt x="126" y="86"/>
                    </a:lnTo>
                    <a:lnTo>
                      <a:pt x="201" y="163"/>
                    </a:lnTo>
                    <a:lnTo>
                      <a:pt x="197" y="116"/>
                    </a:lnTo>
                    <a:lnTo>
                      <a:pt x="201" y="1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8" name="Freeform 429"/>
              <p:cNvSpPr>
                <a:spLocks/>
              </p:cNvSpPr>
              <p:nvPr/>
            </p:nvSpPr>
            <p:spPr bwMode="auto">
              <a:xfrm>
                <a:off x="4537" y="1639"/>
                <a:ext cx="59" cy="63"/>
              </a:xfrm>
              <a:custGeom>
                <a:avLst/>
                <a:gdLst>
                  <a:gd name="T0" fmla="*/ 233 w 238"/>
                  <a:gd name="T1" fmla="*/ 188 h 253"/>
                  <a:gd name="T2" fmla="*/ 168 w 238"/>
                  <a:gd name="T3" fmla="*/ 131 h 253"/>
                  <a:gd name="T4" fmla="*/ 143 w 238"/>
                  <a:gd name="T5" fmla="*/ 91 h 253"/>
                  <a:gd name="T6" fmla="*/ 91 w 238"/>
                  <a:gd name="T7" fmla="*/ 53 h 253"/>
                  <a:gd name="T8" fmla="*/ 46 w 238"/>
                  <a:gd name="T9" fmla="*/ 19 h 253"/>
                  <a:gd name="T10" fmla="*/ 13 w 238"/>
                  <a:gd name="T11" fmla="*/ 0 h 253"/>
                  <a:gd name="T12" fmla="*/ 0 w 238"/>
                  <a:gd name="T13" fmla="*/ 0 h 253"/>
                  <a:gd name="T14" fmla="*/ 0 w 238"/>
                  <a:gd name="T15" fmla="*/ 19 h 253"/>
                  <a:gd name="T16" fmla="*/ 40 w 238"/>
                  <a:gd name="T17" fmla="*/ 44 h 253"/>
                  <a:gd name="T18" fmla="*/ 111 w 238"/>
                  <a:gd name="T19" fmla="*/ 90 h 253"/>
                  <a:gd name="T20" fmla="*/ 162 w 238"/>
                  <a:gd name="T21" fmla="*/ 142 h 253"/>
                  <a:gd name="T22" fmla="*/ 198 w 238"/>
                  <a:gd name="T23" fmla="*/ 199 h 253"/>
                  <a:gd name="T24" fmla="*/ 238 w 238"/>
                  <a:gd name="T25" fmla="*/ 253 h 253"/>
                  <a:gd name="T26" fmla="*/ 233 w 238"/>
                  <a:gd name="T27" fmla="*/ 188 h 25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8"/>
                  <a:gd name="T43" fmla="*/ 0 h 253"/>
                  <a:gd name="T44" fmla="*/ 238 w 238"/>
                  <a:gd name="T45" fmla="*/ 253 h 25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8" h="253">
                    <a:moveTo>
                      <a:pt x="233" y="188"/>
                    </a:moveTo>
                    <a:lnTo>
                      <a:pt x="168" y="131"/>
                    </a:lnTo>
                    <a:lnTo>
                      <a:pt x="143" y="91"/>
                    </a:lnTo>
                    <a:lnTo>
                      <a:pt x="91" y="53"/>
                    </a:lnTo>
                    <a:lnTo>
                      <a:pt x="46" y="19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19"/>
                    </a:lnTo>
                    <a:lnTo>
                      <a:pt x="40" y="44"/>
                    </a:lnTo>
                    <a:lnTo>
                      <a:pt x="111" y="90"/>
                    </a:lnTo>
                    <a:lnTo>
                      <a:pt x="162" y="142"/>
                    </a:lnTo>
                    <a:lnTo>
                      <a:pt x="198" y="199"/>
                    </a:lnTo>
                    <a:lnTo>
                      <a:pt x="238" y="253"/>
                    </a:lnTo>
                    <a:lnTo>
                      <a:pt x="233" y="1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" name="Freeform 430"/>
              <p:cNvSpPr>
                <a:spLocks/>
              </p:cNvSpPr>
              <p:nvPr/>
            </p:nvSpPr>
            <p:spPr bwMode="auto">
              <a:xfrm>
                <a:off x="4544" y="1690"/>
                <a:ext cx="45" cy="38"/>
              </a:xfrm>
              <a:custGeom>
                <a:avLst/>
                <a:gdLst>
                  <a:gd name="T0" fmla="*/ 182 w 182"/>
                  <a:gd name="T1" fmla="*/ 122 h 149"/>
                  <a:gd name="T2" fmla="*/ 130 w 182"/>
                  <a:gd name="T3" fmla="*/ 67 h 149"/>
                  <a:gd name="T4" fmla="*/ 76 w 182"/>
                  <a:gd name="T5" fmla="*/ 32 h 149"/>
                  <a:gd name="T6" fmla="*/ 32 w 182"/>
                  <a:gd name="T7" fmla="*/ 8 h 149"/>
                  <a:gd name="T8" fmla="*/ 0 w 182"/>
                  <a:gd name="T9" fmla="*/ 0 h 149"/>
                  <a:gd name="T10" fmla="*/ 19 w 182"/>
                  <a:gd name="T11" fmla="*/ 32 h 149"/>
                  <a:gd name="T12" fmla="*/ 76 w 182"/>
                  <a:gd name="T13" fmla="*/ 65 h 149"/>
                  <a:gd name="T14" fmla="*/ 122 w 182"/>
                  <a:gd name="T15" fmla="*/ 111 h 149"/>
                  <a:gd name="T16" fmla="*/ 144 w 182"/>
                  <a:gd name="T17" fmla="*/ 143 h 149"/>
                  <a:gd name="T18" fmla="*/ 163 w 182"/>
                  <a:gd name="T19" fmla="*/ 149 h 149"/>
                  <a:gd name="T20" fmla="*/ 180 w 182"/>
                  <a:gd name="T21" fmla="*/ 138 h 149"/>
                  <a:gd name="T22" fmla="*/ 182 w 182"/>
                  <a:gd name="T23" fmla="*/ 122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2"/>
                  <a:gd name="T37" fmla="*/ 0 h 149"/>
                  <a:gd name="T38" fmla="*/ 182 w 182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2" h="149">
                    <a:moveTo>
                      <a:pt x="182" y="122"/>
                    </a:moveTo>
                    <a:lnTo>
                      <a:pt x="130" y="67"/>
                    </a:lnTo>
                    <a:lnTo>
                      <a:pt x="76" y="32"/>
                    </a:lnTo>
                    <a:lnTo>
                      <a:pt x="32" y="8"/>
                    </a:lnTo>
                    <a:lnTo>
                      <a:pt x="0" y="0"/>
                    </a:lnTo>
                    <a:lnTo>
                      <a:pt x="19" y="32"/>
                    </a:lnTo>
                    <a:lnTo>
                      <a:pt x="76" y="65"/>
                    </a:lnTo>
                    <a:lnTo>
                      <a:pt x="122" y="111"/>
                    </a:lnTo>
                    <a:lnTo>
                      <a:pt x="144" y="143"/>
                    </a:lnTo>
                    <a:lnTo>
                      <a:pt x="163" y="149"/>
                    </a:lnTo>
                    <a:lnTo>
                      <a:pt x="180" y="138"/>
                    </a:lnTo>
                    <a:lnTo>
                      <a:pt x="182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" name="Freeform 431"/>
              <p:cNvSpPr>
                <a:spLocks/>
              </p:cNvSpPr>
              <p:nvPr/>
            </p:nvSpPr>
            <p:spPr bwMode="auto">
              <a:xfrm>
                <a:off x="4538" y="1717"/>
                <a:ext cx="50" cy="46"/>
              </a:xfrm>
              <a:custGeom>
                <a:avLst/>
                <a:gdLst>
                  <a:gd name="T0" fmla="*/ 201 w 201"/>
                  <a:gd name="T1" fmla="*/ 172 h 185"/>
                  <a:gd name="T2" fmla="*/ 150 w 201"/>
                  <a:gd name="T3" fmla="*/ 117 h 185"/>
                  <a:gd name="T4" fmla="*/ 85 w 201"/>
                  <a:gd name="T5" fmla="*/ 49 h 185"/>
                  <a:gd name="T6" fmla="*/ 47 w 201"/>
                  <a:gd name="T7" fmla="*/ 17 h 185"/>
                  <a:gd name="T8" fmla="*/ 17 w 201"/>
                  <a:gd name="T9" fmla="*/ 0 h 185"/>
                  <a:gd name="T10" fmla="*/ 0 w 201"/>
                  <a:gd name="T11" fmla="*/ 11 h 185"/>
                  <a:gd name="T12" fmla="*/ 35 w 201"/>
                  <a:gd name="T13" fmla="*/ 39 h 185"/>
                  <a:gd name="T14" fmla="*/ 92 w 201"/>
                  <a:gd name="T15" fmla="*/ 97 h 185"/>
                  <a:gd name="T16" fmla="*/ 146 w 201"/>
                  <a:gd name="T17" fmla="*/ 155 h 185"/>
                  <a:gd name="T18" fmla="*/ 182 w 201"/>
                  <a:gd name="T19" fmla="*/ 185 h 185"/>
                  <a:gd name="T20" fmla="*/ 191 w 201"/>
                  <a:gd name="T21" fmla="*/ 185 h 185"/>
                  <a:gd name="T22" fmla="*/ 201 w 201"/>
                  <a:gd name="T23" fmla="*/ 172 h 1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1"/>
                  <a:gd name="T37" fmla="*/ 0 h 185"/>
                  <a:gd name="T38" fmla="*/ 201 w 201"/>
                  <a:gd name="T39" fmla="*/ 185 h 1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1" h="185">
                    <a:moveTo>
                      <a:pt x="201" y="172"/>
                    </a:moveTo>
                    <a:lnTo>
                      <a:pt x="150" y="117"/>
                    </a:lnTo>
                    <a:lnTo>
                      <a:pt x="85" y="49"/>
                    </a:lnTo>
                    <a:lnTo>
                      <a:pt x="47" y="17"/>
                    </a:lnTo>
                    <a:lnTo>
                      <a:pt x="17" y="0"/>
                    </a:lnTo>
                    <a:lnTo>
                      <a:pt x="0" y="11"/>
                    </a:lnTo>
                    <a:lnTo>
                      <a:pt x="35" y="39"/>
                    </a:lnTo>
                    <a:lnTo>
                      <a:pt x="92" y="97"/>
                    </a:lnTo>
                    <a:lnTo>
                      <a:pt x="146" y="155"/>
                    </a:lnTo>
                    <a:lnTo>
                      <a:pt x="182" y="185"/>
                    </a:lnTo>
                    <a:lnTo>
                      <a:pt x="191" y="185"/>
                    </a:lnTo>
                    <a:lnTo>
                      <a:pt x="201" y="17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" name="Freeform 432"/>
              <p:cNvSpPr>
                <a:spLocks/>
              </p:cNvSpPr>
              <p:nvPr/>
            </p:nvSpPr>
            <p:spPr bwMode="auto">
              <a:xfrm>
                <a:off x="4544" y="1755"/>
                <a:ext cx="35" cy="37"/>
              </a:xfrm>
              <a:custGeom>
                <a:avLst/>
                <a:gdLst>
                  <a:gd name="T0" fmla="*/ 139 w 141"/>
                  <a:gd name="T1" fmla="*/ 122 h 146"/>
                  <a:gd name="T2" fmla="*/ 81 w 141"/>
                  <a:gd name="T3" fmla="*/ 37 h 146"/>
                  <a:gd name="T4" fmla="*/ 25 w 141"/>
                  <a:gd name="T5" fmla="*/ 5 h 146"/>
                  <a:gd name="T6" fmla="*/ 0 w 141"/>
                  <a:gd name="T7" fmla="*/ 0 h 146"/>
                  <a:gd name="T8" fmla="*/ 6 w 141"/>
                  <a:gd name="T9" fmla="*/ 17 h 146"/>
                  <a:gd name="T10" fmla="*/ 71 w 141"/>
                  <a:gd name="T11" fmla="*/ 65 h 146"/>
                  <a:gd name="T12" fmla="*/ 133 w 141"/>
                  <a:gd name="T13" fmla="*/ 140 h 146"/>
                  <a:gd name="T14" fmla="*/ 141 w 141"/>
                  <a:gd name="T15" fmla="*/ 146 h 146"/>
                  <a:gd name="T16" fmla="*/ 139 w 141"/>
                  <a:gd name="T17" fmla="*/ 122 h 14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1"/>
                  <a:gd name="T28" fmla="*/ 0 h 146"/>
                  <a:gd name="T29" fmla="*/ 141 w 141"/>
                  <a:gd name="T30" fmla="*/ 146 h 14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1" h="146">
                    <a:moveTo>
                      <a:pt x="139" y="122"/>
                    </a:moveTo>
                    <a:lnTo>
                      <a:pt x="81" y="37"/>
                    </a:lnTo>
                    <a:lnTo>
                      <a:pt x="25" y="5"/>
                    </a:lnTo>
                    <a:lnTo>
                      <a:pt x="0" y="0"/>
                    </a:lnTo>
                    <a:lnTo>
                      <a:pt x="6" y="17"/>
                    </a:lnTo>
                    <a:lnTo>
                      <a:pt x="71" y="65"/>
                    </a:lnTo>
                    <a:lnTo>
                      <a:pt x="133" y="140"/>
                    </a:lnTo>
                    <a:lnTo>
                      <a:pt x="141" y="146"/>
                    </a:lnTo>
                    <a:lnTo>
                      <a:pt x="139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" name="Freeform 433"/>
              <p:cNvSpPr>
                <a:spLocks/>
              </p:cNvSpPr>
              <p:nvPr/>
            </p:nvSpPr>
            <p:spPr bwMode="auto">
              <a:xfrm>
                <a:off x="4545" y="1791"/>
                <a:ext cx="24" cy="28"/>
              </a:xfrm>
              <a:custGeom>
                <a:avLst/>
                <a:gdLst>
                  <a:gd name="T0" fmla="*/ 94 w 98"/>
                  <a:gd name="T1" fmla="*/ 84 h 110"/>
                  <a:gd name="T2" fmla="*/ 46 w 98"/>
                  <a:gd name="T3" fmla="*/ 19 h 110"/>
                  <a:gd name="T4" fmla="*/ 3 w 98"/>
                  <a:gd name="T5" fmla="*/ 0 h 110"/>
                  <a:gd name="T6" fmla="*/ 0 w 98"/>
                  <a:gd name="T7" fmla="*/ 19 h 110"/>
                  <a:gd name="T8" fmla="*/ 21 w 98"/>
                  <a:gd name="T9" fmla="*/ 51 h 110"/>
                  <a:gd name="T10" fmla="*/ 72 w 98"/>
                  <a:gd name="T11" fmla="*/ 95 h 110"/>
                  <a:gd name="T12" fmla="*/ 87 w 98"/>
                  <a:gd name="T13" fmla="*/ 110 h 110"/>
                  <a:gd name="T14" fmla="*/ 98 w 98"/>
                  <a:gd name="T15" fmla="*/ 103 h 110"/>
                  <a:gd name="T16" fmla="*/ 94 w 98"/>
                  <a:gd name="T17" fmla="*/ 84 h 1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8"/>
                  <a:gd name="T28" fmla="*/ 0 h 110"/>
                  <a:gd name="T29" fmla="*/ 98 w 98"/>
                  <a:gd name="T30" fmla="*/ 110 h 11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8" h="110">
                    <a:moveTo>
                      <a:pt x="94" y="84"/>
                    </a:moveTo>
                    <a:lnTo>
                      <a:pt x="46" y="19"/>
                    </a:lnTo>
                    <a:lnTo>
                      <a:pt x="3" y="0"/>
                    </a:lnTo>
                    <a:lnTo>
                      <a:pt x="0" y="19"/>
                    </a:lnTo>
                    <a:lnTo>
                      <a:pt x="21" y="51"/>
                    </a:lnTo>
                    <a:lnTo>
                      <a:pt x="72" y="95"/>
                    </a:lnTo>
                    <a:lnTo>
                      <a:pt x="87" y="110"/>
                    </a:lnTo>
                    <a:lnTo>
                      <a:pt x="98" y="103"/>
                    </a:lnTo>
                    <a:lnTo>
                      <a:pt x="94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" name="Freeform 434"/>
              <p:cNvSpPr>
                <a:spLocks/>
              </p:cNvSpPr>
              <p:nvPr/>
            </p:nvSpPr>
            <p:spPr bwMode="auto">
              <a:xfrm>
                <a:off x="4547" y="1827"/>
                <a:ext cx="31" cy="31"/>
              </a:xfrm>
              <a:custGeom>
                <a:avLst/>
                <a:gdLst>
                  <a:gd name="T0" fmla="*/ 122 w 122"/>
                  <a:gd name="T1" fmla="*/ 125 h 125"/>
                  <a:gd name="T2" fmla="*/ 105 w 122"/>
                  <a:gd name="T3" fmla="*/ 106 h 125"/>
                  <a:gd name="T4" fmla="*/ 71 w 122"/>
                  <a:gd name="T5" fmla="*/ 54 h 125"/>
                  <a:gd name="T6" fmla="*/ 21 w 122"/>
                  <a:gd name="T7" fmla="*/ 0 h 125"/>
                  <a:gd name="T8" fmla="*/ 0 w 122"/>
                  <a:gd name="T9" fmla="*/ 0 h 125"/>
                  <a:gd name="T10" fmla="*/ 8 w 122"/>
                  <a:gd name="T11" fmla="*/ 19 h 125"/>
                  <a:gd name="T12" fmla="*/ 47 w 122"/>
                  <a:gd name="T13" fmla="*/ 71 h 125"/>
                  <a:gd name="T14" fmla="*/ 85 w 122"/>
                  <a:gd name="T15" fmla="*/ 123 h 125"/>
                  <a:gd name="T16" fmla="*/ 122 w 122"/>
                  <a:gd name="T17" fmla="*/ 125 h 1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2"/>
                  <a:gd name="T28" fmla="*/ 0 h 125"/>
                  <a:gd name="T29" fmla="*/ 122 w 122"/>
                  <a:gd name="T30" fmla="*/ 125 h 1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2" h="125">
                    <a:moveTo>
                      <a:pt x="122" y="125"/>
                    </a:moveTo>
                    <a:lnTo>
                      <a:pt x="105" y="106"/>
                    </a:lnTo>
                    <a:lnTo>
                      <a:pt x="71" y="54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8" y="19"/>
                    </a:lnTo>
                    <a:lnTo>
                      <a:pt x="47" y="71"/>
                    </a:lnTo>
                    <a:lnTo>
                      <a:pt x="85" y="123"/>
                    </a:lnTo>
                    <a:lnTo>
                      <a:pt x="122" y="1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" name="Freeform 435"/>
              <p:cNvSpPr>
                <a:spLocks/>
              </p:cNvSpPr>
              <p:nvPr/>
            </p:nvSpPr>
            <p:spPr bwMode="auto">
              <a:xfrm>
                <a:off x="4588" y="1567"/>
                <a:ext cx="94" cy="348"/>
              </a:xfrm>
              <a:custGeom>
                <a:avLst/>
                <a:gdLst>
                  <a:gd name="T0" fmla="*/ 54 w 375"/>
                  <a:gd name="T1" fmla="*/ 170 h 1390"/>
                  <a:gd name="T2" fmla="*/ 68 w 375"/>
                  <a:gd name="T3" fmla="*/ 247 h 1390"/>
                  <a:gd name="T4" fmla="*/ 35 w 375"/>
                  <a:gd name="T5" fmla="*/ 298 h 1390"/>
                  <a:gd name="T6" fmla="*/ 39 w 375"/>
                  <a:gd name="T7" fmla="*/ 369 h 1390"/>
                  <a:gd name="T8" fmla="*/ 58 w 375"/>
                  <a:gd name="T9" fmla="*/ 428 h 1390"/>
                  <a:gd name="T10" fmla="*/ 28 w 375"/>
                  <a:gd name="T11" fmla="*/ 486 h 1390"/>
                  <a:gd name="T12" fmla="*/ 61 w 375"/>
                  <a:gd name="T13" fmla="*/ 587 h 1390"/>
                  <a:gd name="T14" fmla="*/ 22 w 375"/>
                  <a:gd name="T15" fmla="*/ 671 h 1390"/>
                  <a:gd name="T16" fmla="*/ 41 w 375"/>
                  <a:gd name="T17" fmla="*/ 755 h 1390"/>
                  <a:gd name="T18" fmla="*/ 52 w 375"/>
                  <a:gd name="T19" fmla="*/ 815 h 1390"/>
                  <a:gd name="T20" fmla="*/ 14 w 375"/>
                  <a:gd name="T21" fmla="*/ 866 h 1390"/>
                  <a:gd name="T22" fmla="*/ 35 w 375"/>
                  <a:gd name="T23" fmla="*/ 974 h 1390"/>
                  <a:gd name="T24" fmla="*/ 33 w 375"/>
                  <a:gd name="T25" fmla="*/ 1032 h 1390"/>
                  <a:gd name="T26" fmla="*/ 0 w 375"/>
                  <a:gd name="T27" fmla="*/ 1104 h 1390"/>
                  <a:gd name="T28" fmla="*/ 20 w 375"/>
                  <a:gd name="T29" fmla="*/ 1164 h 1390"/>
                  <a:gd name="T30" fmla="*/ 22 w 375"/>
                  <a:gd name="T31" fmla="*/ 1219 h 1390"/>
                  <a:gd name="T32" fmla="*/ 28 w 375"/>
                  <a:gd name="T33" fmla="*/ 1278 h 1390"/>
                  <a:gd name="T34" fmla="*/ 54 w 375"/>
                  <a:gd name="T35" fmla="*/ 1330 h 1390"/>
                  <a:gd name="T36" fmla="*/ 58 w 375"/>
                  <a:gd name="T37" fmla="*/ 1390 h 1390"/>
                  <a:gd name="T38" fmla="*/ 142 w 375"/>
                  <a:gd name="T39" fmla="*/ 1338 h 1390"/>
                  <a:gd name="T40" fmla="*/ 242 w 375"/>
                  <a:gd name="T41" fmla="*/ 1325 h 1390"/>
                  <a:gd name="T42" fmla="*/ 310 w 375"/>
                  <a:gd name="T43" fmla="*/ 1297 h 1390"/>
                  <a:gd name="T44" fmla="*/ 332 w 375"/>
                  <a:gd name="T45" fmla="*/ 1259 h 1390"/>
                  <a:gd name="T46" fmla="*/ 339 w 375"/>
                  <a:gd name="T47" fmla="*/ 1181 h 1390"/>
                  <a:gd name="T48" fmla="*/ 323 w 375"/>
                  <a:gd name="T49" fmla="*/ 1080 h 1390"/>
                  <a:gd name="T50" fmla="*/ 307 w 375"/>
                  <a:gd name="T51" fmla="*/ 1026 h 1390"/>
                  <a:gd name="T52" fmla="*/ 317 w 375"/>
                  <a:gd name="T53" fmla="*/ 961 h 1390"/>
                  <a:gd name="T54" fmla="*/ 286 w 375"/>
                  <a:gd name="T55" fmla="*/ 890 h 1390"/>
                  <a:gd name="T56" fmla="*/ 330 w 375"/>
                  <a:gd name="T57" fmla="*/ 835 h 1390"/>
                  <a:gd name="T58" fmla="*/ 297 w 375"/>
                  <a:gd name="T59" fmla="*/ 755 h 1390"/>
                  <a:gd name="T60" fmla="*/ 280 w 375"/>
                  <a:gd name="T61" fmla="*/ 679 h 1390"/>
                  <a:gd name="T62" fmla="*/ 345 w 375"/>
                  <a:gd name="T63" fmla="*/ 621 h 1390"/>
                  <a:gd name="T64" fmla="*/ 323 w 375"/>
                  <a:gd name="T65" fmla="*/ 581 h 1390"/>
                  <a:gd name="T66" fmla="*/ 323 w 375"/>
                  <a:gd name="T67" fmla="*/ 510 h 1390"/>
                  <a:gd name="T68" fmla="*/ 293 w 375"/>
                  <a:gd name="T69" fmla="*/ 464 h 1390"/>
                  <a:gd name="T70" fmla="*/ 317 w 375"/>
                  <a:gd name="T71" fmla="*/ 409 h 1390"/>
                  <a:gd name="T72" fmla="*/ 297 w 375"/>
                  <a:gd name="T73" fmla="*/ 363 h 1390"/>
                  <a:gd name="T74" fmla="*/ 297 w 375"/>
                  <a:gd name="T75" fmla="*/ 325 h 1390"/>
                  <a:gd name="T76" fmla="*/ 319 w 375"/>
                  <a:gd name="T77" fmla="*/ 290 h 1390"/>
                  <a:gd name="T78" fmla="*/ 291 w 375"/>
                  <a:gd name="T79" fmla="*/ 244 h 1390"/>
                  <a:gd name="T80" fmla="*/ 286 w 375"/>
                  <a:gd name="T81" fmla="*/ 181 h 1390"/>
                  <a:gd name="T82" fmla="*/ 358 w 375"/>
                  <a:gd name="T83" fmla="*/ 98 h 1390"/>
                  <a:gd name="T84" fmla="*/ 375 w 375"/>
                  <a:gd name="T85" fmla="*/ 13 h 1390"/>
                  <a:gd name="T86" fmla="*/ 332 w 375"/>
                  <a:gd name="T87" fmla="*/ 13 h 1390"/>
                  <a:gd name="T88" fmla="*/ 207 w 375"/>
                  <a:gd name="T89" fmla="*/ 79 h 1390"/>
                  <a:gd name="T90" fmla="*/ 104 w 375"/>
                  <a:gd name="T91" fmla="*/ 118 h 139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1390"/>
                  <a:gd name="T140" fmla="*/ 375 w 375"/>
                  <a:gd name="T141" fmla="*/ 1390 h 139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1390">
                    <a:moveTo>
                      <a:pt x="68" y="130"/>
                    </a:moveTo>
                    <a:lnTo>
                      <a:pt x="54" y="170"/>
                    </a:lnTo>
                    <a:lnTo>
                      <a:pt x="65" y="208"/>
                    </a:lnTo>
                    <a:lnTo>
                      <a:pt x="68" y="247"/>
                    </a:lnTo>
                    <a:lnTo>
                      <a:pt x="54" y="271"/>
                    </a:lnTo>
                    <a:lnTo>
                      <a:pt x="35" y="298"/>
                    </a:lnTo>
                    <a:lnTo>
                      <a:pt x="27" y="342"/>
                    </a:lnTo>
                    <a:lnTo>
                      <a:pt x="39" y="369"/>
                    </a:lnTo>
                    <a:lnTo>
                      <a:pt x="58" y="402"/>
                    </a:lnTo>
                    <a:lnTo>
                      <a:pt x="58" y="428"/>
                    </a:lnTo>
                    <a:lnTo>
                      <a:pt x="46" y="453"/>
                    </a:lnTo>
                    <a:lnTo>
                      <a:pt x="28" y="486"/>
                    </a:lnTo>
                    <a:lnTo>
                      <a:pt x="35" y="518"/>
                    </a:lnTo>
                    <a:lnTo>
                      <a:pt x="61" y="587"/>
                    </a:lnTo>
                    <a:lnTo>
                      <a:pt x="58" y="615"/>
                    </a:lnTo>
                    <a:lnTo>
                      <a:pt x="22" y="671"/>
                    </a:lnTo>
                    <a:lnTo>
                      <a:pt x="22" y="719"/>
                    </a:lnTo>
                    <a:lnTo>
                      <a:pt x="41" y="755"/>
                    </a:lnTo>
                    <a:lnTo>
                      <a:pt x="54" y="787"/>
                    </a:lnTo>
                    <a:lnTo>
                      <a:pt x="52" y="815"/>
                    </a:lnTo>
                    <a:lnTo>
                      <a:pt x="20" y="845"/>
                    </a:lnTo>
                    <a:lnTo>
                      <a:pt x="14" y="866"/>
                    </a:lnTo>
                    <a:lnTo>
                      <a:pt x="20" y="918"/>
                    </a:lnTo>
                    <a:lnTo>
                      <a:pt x="35" y="974"/>
                    </a:lnTo>
                    <a:lnTo>
                      <a:pt x="35" y="1007"/>
                    </a:lnTo>
                    <a:lnTo>
                      <a:pt x="33" y="1032"/>
                    </a:lnTo>
                    <a:lnTo>
                      <a:pt x="9" y="1071"/>
                    </a:lnTo>
                    <a:lnTo>
                      <a:pt x="0" y="1104"/>
                    </a:lnTo>
                    <a:lnTo>
                      <a:pt x="3" y="1138"/>
                    </a:lnTo>
                    <a:lnTo>
                      <a:pt x="20" y="1164"/>
                    </a:lnTo>
                    <a:lnTo>
                      <a:pt x="39" y="1187"/>
                    </a:lnTo>
                    <a:lnTo>
                      <a:pt x="22" y="1219"/>
                    </a:lnTo>
                    <a:lnTo>
                      <a:pt x="14" y="1252"/>
                    </a:lnTo>
                    <a:lnTo>
                      <a:pt x="28" y="1278"/>
                    </a:lnTo>
                    <a:lnTo>
                      <a:pt x="52" y="1297"/>
                    </a:lnTo>
                    <a:lnTo>
                      <a:pt x="54" y="1330"/>
                    </a:lnTo>
                    <a:lnTo>
                      <a:pt x="54" y="1355"/>
                    </a:lnTo>
                    <a:lnTo>
                      <a:pt x="58" y="1390"/>
                    </a:lnTo>
                    <a:lnTo>
                      <a:pt x="99" y="1362"/>
                    </a:lnTo>
                    <a:lnTo>
                      <a:pt x="142" y="1338"/>
                    </a:lnTo>
                    <a:lnTo>
                      <a:pt x="182" y="1325"/>
                    </a:lnTo>
                    <a:lnTo>
                      <a:pt x="242" y="1325"/>
                    </a:lnTo>
                    <a:lnTo>
                      <a:pt x="285" y="1319"/>
                    </a:lnTo>
                    <a:lnTo>
                      <a:pt x="310" y="1297"/>
                    </a:lnTo>
                    <a:lnTo>
                      <a:pt x="356" y="1284"/>
                    </a:lnTo>
                    <a:lnTo>
                      <a:pt x="332" y="1259"/>
                    </a:lnTo>
                    <a:lnTo>
                      <a:pt x="323" y="1222"/>
                    </a:lnTo>
                    <a:lnTo>
                      <a:pt x="339" y="1181"/>
                    </a:lnTo>
                    <a:lnTo>
                      <a:pt x="337" y="1123"/>
                    </a:lnTo>
                    <a:lnTo>
                      <a:pt x="323" y="1080"/>
                    </a:lnTo>
                    <a:lnTo>
                      <a:pt x="310" y="1058"/>
                    </a:lnTo>
                    <a:lnTo>
                      <a:pt x="307" y="1026"/>
                    </a:lnTo>
                    <a:lnTo>
                      <a:pt x="323" y="987"/>
                    </a:lnTo>
                    <a:lnTo>
                      <a:pt x="317" y="961"/>
                    </a:lnTo>
                    <a:lnTo>
                      <a:pt x="285" y="917"/>
                    </a:lnTo>
                    <a:lnTo>
                      <a:pt x="286" y="890"/>
                    </a:lnTo>
                    <a:lnTo>
                      <a:pt x="299" y="866"/>
                    </a:lnTo>
                    <a:lnTo>
                      <a:pt x="330" y="835"/>
                    </a:lnTo>
                    <a:lnTo>
                      <a:pt x="319" y="809"/>
                    </a:lnTo>
                    <a:lnTo>
                      <a:pt x="297" y="755"/>
                    </a:lnTo>
                    <a:lnTo>
                      <a:pt x="280" y="719"/>
                    </a:lnTo>
                    <a:lnTo>
                      <a:pt x="280" y="679"/>
                    </a:lnTo>
                    <a:lnTo>
                      <a:pt x="339" y="659"/>
                    </a:lnTo>
                    <a:lnTo>
                      <a:pt x="345" y="621"/>
                    </a:lnTo>
                    <a:lnTo>
                      <a:pt x="339" y="600"/>
                    </a:lnTo>
                    <a:lnTo>
                      <a:pt x="323" y="581"/>
                    </a:lnTo>
                    <a:lnTo>
                      <a:pt x="326" y="548"/>
                    </a:lnTo>
                    <a:lnTo>
                      <a:pt x="323" y="510"/>
                    </a:lnTo>
                    <a:lnTo>
                      <a:pt x="307" y="490"/>
                    </a:lnTo>
                    <a:lnTo>
                      <a:pt x="293" y="464"/>
                    </a:lnTo>
                    <a:lnTo>
                      <a:pt x="304" y="439"/>
                    </a:lnTo>
                    <a:lnTo>
                      <a:pt x="317" y="409"/>
                    </a:lnTo>
                    <a:lnTo>
                      <a:pt x="317" y="388"/>
                    </a:lnTo>
                    <a:lnTo>
                      <a:pt x="297" y="363"/>
                    </a:lnTo>
                    <a:lnTo>
                      <a:pt x="291" y="342"/>
                    </a:lnTo>
                    <a:lnTo>
                      <a:pt x="297" y="325"/>
                    </a:lnTo>
                    <a:lnTo>
                      <a:pt x="317" y="312"/>
                    </a:lnTo>
                    <a:lnTo>
                      <a:pt x="319" y="290"/>
                    </a:lnTo>
                    <a:lnTo>
                      <a:pt x="313" y="277"/>
                    </a:lnTo>
                    <a:lnTo>
                      <a:pt x="291" y="244"/>
                    </a:lnTo>
                    <a:lnTo>
                      <a:pt x="285" y="208"/>
                    </a:lnTo>
                    <a:lnTo>
                      <a:pt x="286" y="181"/>
                    </a:lnTo>
                    <a:lnTo>
                      <a:pt x="307" y="154"/>
                    </a:lnTo>
                    <a:lnTo>
                      <a:pt x="358" y="98"/>
                    </a:lnTo>
                    <a:lnTo>
                      <a:pt x="375" y="51"/>
                    </a:lnTo>
                    <a:lnTo>
                      <a:pt x="375" y="13"/>
                    </a:lnTo>
                    <a:lnTo>
                      <a:pt x="358" y="0"/>
                    </a:lnTo>
                    <a:lnTo>
                      <a:pt x="332" y="13"/>
                    </a:lnTo>
                    <a:lnTo>
                      <a:pt x="267" y="54"/>
                    </a:lnTo>
                    <a:lnTo>
                      <a:pt x="207" y="79"/>
                    </a:lnTo>
                    <a:lnTo>
                      <a:pt x="145" y="105"/>
                    </a:lnTo>
                    <a:lnTo>
                      <a:pt x="104" y="118"/>
                    </a:lnTo>
                    <a:lnTo>
                      <a:pt x="68" y="13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5" name="Freeform 436"/>
              <p:cNvSpPr>
                <a:spLocks/>
              </p:cNvSpPr>
              <p:nvPr/>
            </p:nvSpPr>
            <p:spPr bwMode="auto">
              <a:xfrm>
                <a:off x="4523" y="1565"/>
                <a:ext cx="167" cy="355"/>
              </a:xfrm>
              <a:custGeom>
                <a:avLst/>
                <a:gdLst>
                  <a:gd name="T0" fmla="*/ 437 w 669"/>
                  <a:gd name="T1" fmla="*/ 1335 h 1421"/>
                  <a:gd name="T2" fmla="*/ 308 w 669"/>
                  <a:gd name="T3" fmla="*/ 1380 h 1421"/>
                  <a:gd name="T4" fmla="*/ 54 w 669"/>
                  <a:gd name="T5" fmla="*/ 1150 h 1421"/>
                  <a:gd name="T6" fmla="*/ 40 w 669"/>
                  <a:gd name="T7" fmla="*/ 1188 h 1421"/>
                  <a:gd name="T8" fmla="*/ 317 w 669"/>
                  <a:gd name="T9" fmla="*/ 1421 h 1421"/>
                  <a:gd name="T10" fmla="*/ 450 w 669"/>
                  <a:gd name="T11" fmla="*/ 1350 h 1421"/>
                  <a:gd name="T12" fmla="*/ 633 w 669"/>
                  <a:gd name="T13" fmla="*/ 1290 h 1421"/>
                  <a:gd name="T14" fmla="*/ 624 w 669"/>
                  <a:gd name="T15" fmla="*/ 1188 h 1421"/>
                  <a:gd name="T16" fmla="*/ 587 w 669"/>
                  <a:gd name="T17" fmla="*/ 1076 h 1421"/>
                  <a:gd name="T18" fmla="*/ 605 w 669"/>
                  <a:gd name="T19" fmla="*/ 986 h 1421"/>
                  <a:gd name="T20" fmla="*/ 565 w 669"/>
                  <a:gd name="T21" fmla="*/ 899 h 1421"/>
                  <a:gd name="T22" fmla="*/ 586 w 669"/>
                  <a:gd name="T23" fmla="*/ 796 h 1421"/>
                  <a:gd name="T24" fmla="*/ 600 w 669"/>
                  <a:gd name="T25" fmla="*/ 692 h 1421"/>
                  <a:gd name="T26" fmla="*/ 605 w 669"/>
                  <a:gd name="T27" fmla="*/ 563 h 1421"/>
                  <a:gd name="T28" fmla="*/ 578 w 669"/>
                  <a:gd name="T29" fmla="*/ 453 h 1421"/>
                  <a:gd name="T30" fmla="*/ 565 w 669"/>
                  <a:gd name="T31" fmla="*/ 367 h 1421"/>
                  <a:gd name="T32" fmla="*/ 598 w 669"/>
                  <a:gd name="T33" fmla="*/ 293 h 1421"/>
                  <a:gd name="T34" fmla="*/ 581 w 669"/>
                  <a:gd name="T35" fmla="*/ 168 h 1421"/>
                  <a:gd name="T36" fmla="*/ 663 w 669"/>
                  <a:gd name="T37" fmla="*/ 14 h 1421"/>
                  <a:gd name="T38" fmla="*/ 627 w 669"/>
                  <a:gd name="T39" fmla="*/ 47 h 1421"/>
                  <a:gd name="T40" fmla="*/ 542 w 669"/>
                  <a:gd name="T41" fmla="*/ 187 h 1421"/>
                  <a:gd name="T42" fmla="*/ 420 w 669"/>
                  <a:gd name="T43" fmla="*/ 302 h 1421"/>
                  <a:gd name="T44" fmla="*/ 546 w 669"/>
                  <a:gd name="T45" fmla="*/ 260 h 1421"/>
                  <a:gd name="T46" fmla="*/ 535 w 669"/>
                  <a:gd name="T47" fmla="*/ 342 h 1421"/>
                  <a:gd name="T48" fmla="*/ 475 w 669"/>
                  <a:gd name="T49" fmla="*/ 427 h 1421"/>
                  <a:gd name="T50" fmla="*/ 562 w 669"/>
                  <a:gd name="T51" fmla="*/ 408 h 1421"/>
                  <a:gd name="T52" fmla="*/ 540 w 669"/>
                  <a:gd name="T53" fmla="*/ 473 h 1421"/>
                  <a:gd name="T54" fmla="*/ 534 w 669"/>
                  <a:gd name="T55" fmla="*/ 543 h 1421"/>
                  <a:gd name="T56" fmla="*/ 407 w 669"/>
                  <a:gd name="T57" fmla="*/ 638 h 1421"/>
                  <a:gd name="T58" fmla="*/ 548 w 669"/>
                  <a:gd name="T59" fmla="*/ 574 h 1421"/>
                  <a:gd name="T60" fmla="*/ 600 w 669"/>
                  <a:gd name="T61" fmla="*/ 638 h 1421"/>
                  <a:gd name="T62" fmla="*/ 514 w 669"/>
                  <a:gd name="T63" fmla="*/ 698 h 1421"/>
                  <a:gd name="T64" fmla="*/ 355 w 669"/>
                  <a:gd name="T65" fmla="*/ 776 h 1421"/>
                  <a:gd name="T66" fmla="*/ 535 w 669"/>
                  <a:gd name="T67" fmla="*/ 744 h 1421"/>
                  <a:gd name="T68" fmla="*/ 572 w 669"/>
                  <a:gd name="T69" fmla="*/ 864 h 1421"/>
                  <a:gd name="T70" fmla="*/ 359 w 669"/>
                  <a:gd name="T71" fmla="*/ 922 h 1421"/>
                  <a:gd name="T72" fmla="*/ 475 w 669"/>
                  <a:gd name="T73" fmla="*/ 918 h 1421"/>
                  <a:gd name="T74" fmla="*/ 548 w 669"/>
                  <a:gd name="T75" fmla="*/ 954 h 1421"/>
                  <a:gd name="T76" fmla="*/ 546 w 669"/>
                  <a:gd name="T77" fmla="*/ 1025 h 1421"/>
                  <a:gd name="T78" fmla="*/ 342 w 669"/>
                  <a:gd name="T79" fmla="*/ 1066 h 1421"/>
                  <a:gd name="T80" fmla="*/ 443 w 669"/>
                  <a:gd name="T81" fmla="*/ 1066 h 1421"/>
                  <a:gd name="T82" fmla="*/ 559 w 669"/>
                  <a:gd name="T83" fmla="*/ 1046 h 1421"/>
                  <a:gd name="T84" fmla="*/ 458 w 669"/>
                  <a:gd name="T85" fmla="*/ 1144 h 1421"/>
                  <a:gd name="T86" fmla="*/ 342 w 669"/>
                  <a:gd name="T87" fmla="*/ 1199 h 1421"/>
                  <a:gd name="T88" fmla="*/ 488 w 669"/>
                  <a:gd name="T89" fmla="*/ 1147 h 1421"/>
                  <a:gd name="T90" fmla="*/ 575 w 669"/>
                  <a:gd name="T91" fmla="*/ 1128 h 1421"/>
                  <a:gd name="T92" fmla="*/ 572 w 669"/>
                  <a:gd name="T93" fmla="*/ 1212 h 1421"/>
                  <a:gd name="T94" fmla="*/ 586 w 669"/>
                  <a:gd name="T95" fmla="*/ 1283 h 14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9"/>
                  <a:gd name="T145" fmla="*/ 0 h 1421"/>
                  <a:gd name="T146" fmla="*/ 669 w 669"/>
                  <a:gd name="T147" fmla="*/ 1421 h 14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9" h="1421">
                    <a:moveTo>
                      <a:pt x="568" y="1285"/>
                    </a:moveTo>
                    <a:lnTo>
                      <a:pt x="540" y="1318"/>
                    </a:lnTo>
                    <a:lnTo>
                      <a:pt x="494" y="1329"/>
                    </a:lnTo>
                    <a:lnTo>
                      <a:pt x="437" y="1335"/>
                    </a:lnTo>
                    <a:lnTo>
                      <a:pt x="374" y="1348"/>
                    </a:lnTo>
                    <a:lnTo>
                      <a:pt x="334" y="1373"/>
                    </a:lnTo>
                    <a:lnTo>
                      <a:pt x="320" y="1386"/>
                    </a:lnTo>
                    <a:lnTo>
                      <a:pt x="308" y="1380"/>
                    </a:lnTo>
                    <a:lnTo>
                      <a:pt x="233" y="1324"/>
                    </a:lnTo>
                    <a:lnTo>
                      <a:pt x="135" y="1247"/>
                    </a:lnTo>
                    <a:lnTo>
                      <a:pt x="103" y="1199"/>
                    </a:lnTo>
                    <a:lnTo>
                      <a:pt x="54" y="1150"/>
                    </a:lnTo>
                    <a:lnTo>
                      <a:pt x="39" y="1111"/>
                    </a:lnTo>
                    <a:lnTo>
                      <a:pt x="0" y="1105"/>
                    </a:lnTo>
                    <a:lnTo>
                      <a:pt x="20" y="1147"/>
                    </a:lnTo>
                    <a:lnTo>
                      <a:pt x="40" y="1188"/>
                    </a:lnTo>
                    <a:lnTo>
                      <a:pt x="103" y="1234"/>
                    </a:lnTo>
                    <a:lnTo>
                      <a:pt x="146" y="1290"/>
                    </a:lnTo>
                    <a:lnTo>
                      <a:pt x="252" y="1356"/>
                    </a:lnTo>
                    <a:lnTo>
                      <a:pt x="317" y="1421"/>
                    </a:lnTo>
                    <a:lnTo>
                      <a:pt x="342" y="1415"/>
                    </a:lnTo>
                    <a:lnTo>
                      <a:pt x="368" y="1383"/>
                    </a:lnTo>
                    <a:lnTo>
                      <a:pt x="404" y="1363"/>
                    </a:lnTo>
                    <a:lnTo>
                      <a:pt x="450" y="1350"/>
                    </a:lnTo>
                    <a:lnTo>
                      <a:pt x="546" y="1342"/>
                    </a:lnTo>
                    <a:lnTo>
                      <a:pt x="575" y="1324"/>
                    </a:lnTo>
                    <a:lnTo>
                      <a:pt x="624" y="1312"/>
                    </a:lnTo>
                    <a:lnTo>
                      <a:pt x="633" y="1290"/>
                    </a:lnTo>
                    <a:lnTo>
                      <a:pt x="617" y="1264"/>
                    </a:lnTo>
                    <a:lnTo>
                      <a:pt x="600" y="1239"/>
                    </a:lnTo>
                    <a:lnTo>
                      <a:pt x="611" y="1206"/>
                    </a:lnTo>
                    <a:lnTo>
                      <a:pt x="624" y="1188"/>
                    </a:lnTo>
                    <a:lnTo>
                      <a:pt x="624" y="1161"/>
                    </a:lnTo>
                    <a:lnTo>
                      <a:pt x="611" y="1117"/>
                    </a:lnTo>
                    <a:lnTo>
                      <a:pt x="605" y="1096"/>
                    </a:lnTo>
                    <a:lnTo>
                      <a:pt x="587" y="1076"/>
                    </a:lnTo>
                    <a:lnTo>
                      <a:pt x="578" y="1054"/>
                    </a:lnTo>
                    <a:lnTo>
                      <a:pt x="587" y="1032"/>
                    </a:lnTo>
                    <a:lnTo>
                      <a:pt x="606" y="1014"/>
                    </a:lnTo>
                    <a:lnTo>
                      <a:pt x="605" y="986"/>
                    </a:lnTo>
                    <a:lnTo>
                      <a:pt x="594" y="967"/>
                    </a:lnTo>
                    <a:lnTo>
                      <a:pt x="572" y="937"/>
                    </a:lnTo>
                    <a:lnTo>
                      <a:pt x="559" y="922"/>
                    </a:lnTo>
                    <a:lnTo>
                      <a:pt x="565" y="899"/>
                    </a:lnTo>
                    <a:lnTo>
                      <a:pt x="598" y="880"/>
                    </a:lnTo>
                    <a:lnTo>
                      <a:pt x="611" y="853"/>
                    </a:lnTo>
                    <a:lnTo>
                      <a:pt x="606" y="832"/>
                    </a:lnTo>
                    <a:lnTo>
                      <a:pt x="586" y="796"/>
                    </a:lnTo>
                    <a:lnTo>
                      <a:pt x="562" y="750"/>
                    </a:lnTo>
                    <a:lnTo>
                      <a:pt x="553" y="718"/>
                    </a:lnTo>
                    <a:lnTo>
                      <a:pt x="565" y="704"/>
                    </a:lnTo>
                    <a:lnTo>
                      <a:pt x="600" y="692"/>
                    </a:lnTo>
                    <a:lnTo>
                      <a:pt x="619" y="679"/>
                    </a:lnTo>
                    <a:lnTo>
                      <a:pt x="624" y="638"/>
                    </a:lnTo>
                    <a:lnTo>
                      <a:pt x="600" y="593"/>
                    </a:lnTo>
                    <a:lnTo>
                      <a:pt x="605" y="563"/>
                    </a:lnTo>
                    <a:lnTo>
                      <a:pt x="613" y="535"/>
                    </a:lnTo>
                    <a:lnTo>
                      <a:pt x="592" y="503"/>
                    </a:lnTo>
                    <a:lnTo>
                      <a:pt x="572" y="473"/>
                    </a:lnTo>
                    <a:lnTo>
                      <a:pt x="578" y="453"/>
                    </a:lnTo>
                    <a:lnTo>
                      <a:pt x="592" y="434"/>
                    </a:lnTo>
                    <a:lnTo>
                      <a:pt x="592" y="402"/>
                    </a:lnTo>
                    <a:lnTo>
                      <a:pt x="578" y="383"/>
                    </a:lnTo>
                    <a:lnTo>
                      <a:pt x="565" y="367"/>
                    </a:lnTo>
                    <a:lnTo>
                      <a:pt x="568" y="343"/>
                    </a:lnTo>
                    <a:lnTo>
                      <a:pt x="592" y="331"/>
                    </a:lnTo>
                    <a:lnTo>
                      <a:pt x="605" y="318"/>
                    </a:lnTo>
                    <a:lnTo>
                      <a:pt x="598" y="293"/>
                    </a:lnTo>
                    <a:lnTo>
                      <a:pt x="572" y="260"/>
                    </a:lnTo>
                    <a:lnTo>
                      <a:pt x="562" y="231"/>
                    </a:lnTo>
                    <a:lnTo>
                      <a:pt x="559" y="199"/>
                    </a:lnTo>
                    <a:lnTo>
                      <a:pt x="581" y="168"/>
                    </a:lnTo>
                    <a:lnTo>
                      <a:pt x="627" y="117"/>
                    </a:lnTo>
                    <a:lnTo>
                      <a:pt x="649" y="79"/>
                    </a:lnTo>
                    <a:lnTo>
                      <a:pt x="669" y="47"/>
                    </a:lnTo>
                    <a:lnTo>
                      <a:pt x="663" y="14"/>
                    </a:lnTo>
                    <a:lnTo>
                      <a:pt x="646" y="0"/>
                    </a:lnTo>
                    <a:lnTo>
                      <a:pt x="633" y="2"/>
                    </a:lnTo>
                    <a:lnTo>
                      <a:pt x="611" y="27"/>
                    </a:lnTo>
                    <a:lnTo>
                      <a:pt x="627" y="47"/>
                    </a:lnTo>
                    <a:lnTo>
                      <a:pt x="624" y="79"/>
                    </a:lnTo>
                    <a:lnTo>
                      <a:pt x="594" y="135"/>
                    </a:lnTo>
                    <a:lnTo>
                      <a:pt x="554" y="168"/>
                    </a:lnTo>
                    <a:lnTo>
                      <a:pt x="542" y="187"/>
                    </a:lnTo>
                    <a:lnTo>
                      <a:pt x="534" y="212"/>
                    </a:lnTo>
                    <a:lnTo>
                      <a:pt x="529" y="228"/>
                    </a:lnTo>
                    <a:lnTo>
                      <a:pt x="472" y="272"/>
                    </a:lnTo>
                    <a:lnTo>
                      <a:pt x="420" y="302"/>
                    </a:lnTo>
                    <a:lnTo>
                      <a:pt x="413" y="324"/>
                    </a:lnTo>
                    <a:lnTo>
                      <a:pt x="431" y="329"/>
                    </a:lnTo>
                    <a:lnTo>
                      <a:pt x="508" y="272"/>
                    </a:lnTo>
                    <a:lnTo>
                      <a:pt x="546" y="260"/>
                    </a:lnTo>
                    <a:lnTo>
                      <a:pt x="565" y="296"/>
                    </a:lnTo>
                    <a:lnTo>
                      <a:pt x="572" y="312"/>
                    </a:lnTo>
                    <a:lnTo>
                      <a:pt x="553" y="329"/>
                    </a:lnTo>
                    <a:lnTo>
                      <a:pt x="535" y="342"/>
                    </a:lnTo>
                    <a:lnTo>
                      <a:pt x="534" y="363"/>
                    </a:lnTo>
                    <a:lnTo>
                      <a:pt x="540" y="386"/>
                    </a:lnTo>
                    <a:lnTo>
                      <a:pt x="523" y="405"/>
                    </a:lnTo>
                    <a:lnTo>
                      <a:pt x="475" y="427"/>
                    </a:lnTo>
                    <a:lnTo>
                      <a:pt x="404" y="457"/>
                    </a:lnTo>
                    <a:lnTo>
                      <a:pt x="431" y="467"/>
                    </a:lnTo>
                    <a:lnTo>
                      <a:pt x="503" y="438"/>
                    </a:lnTo>
                    <a:lnTo>
                      <a:pt x="562" y="408"/>
                    </a:lnTo>
                    <a:lnTo>
                      <a:pt x="572" y="415"/>
                    </a:lnTo>
                    <a:lnTo>
                      <a:pt x="565" y="434"/>
                    </a:lnTo>
                    <a:lnTo>
                      <a:pt x="546" y="453"/>
                    </a:lnTo>
                    <a:lnTo>
                      <a:pt x="540" y="473"/>
                    </a:lnTo>
                    <a:lnTo>
                      <a:pt x="548" y="498"/>
                    </a:lnTo>
                    <a:lnTo>
                      <a:pt x="572" y="518"/>
                    </a:lnTo>
                    <a:lnTo>
                      <a:pt x="572" y="535"/>
                    </a:lnTo>
                    <a:lnTo>
                      <a:pt x="534" y="543"/>
                    </a:lnTo>
                    <a:lnTo>
                      <a:pt x="502" y="587"/>
                    </a:lnTo>
                    <a:lnTo>
                      <a:pt x="462" y="612"/>
                    </a:lnTo>
                    <a:lnTo>
                      <a:pt x="410" y="625"/>
                    </a:lnTo>
                    <a:lnTo>
                      <a:pt x="407" y="638"/>
                    </a:lnTo>
                    <a:lnTo>
                      <a:pt x="439" y="634"/>
                    </a:lnTo>
                    <a:lnTo>
                      <a:pt x="508" y="612"/>
                    </a:lnTo>
                    <a:lnTo>
                      <a:pt x="534" y="593"/>
                    </a:lnTo>
                    <a:lnTo>
                      <a:pt x="548" y="574"/>
                    </a:lnTo>
                    <a:lnTo>
                      <a:pt x="572" y="570"/>
                    </a:lnTo>
                    <a:lnTo>
                      <a:pt x="572" y="593"/>
                    </a:lnTo>
                    <a:lnTo>
                      <a:pt x="587" y="614"/>
                    </a:lnTo>
                    <a:lnTo>
                      <a:pt x="600" y="638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4" y="679"/>
                    </a:lnTo>
                    <a:lnTo>
                      <a:pt x="514" y="698"/>
                    </a:lnTo>
                    <a:lnTo>
                      <a:pt x="426" y="725"/>
                    </a:lnTo>
                    <a:lnTo>
                      <a:pt x="361" y="748"/>
                    </a:lnTo>
                    <a:lnTo>
                      <a:pt x="336" y="761"/>
                    </a:lnTo>
                    <a:lnTo>
                      <a:pt x="355" y="776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3" y="722"/>
                    </a:lnTo>
                    <a:lnTo>
                      <a:pt x="535" y="744"/>
                    </a:lnTo>
                    <a:lnTo>
                      <a:pt x="548" y="782"/>
                    </a:lnTo>
                    <a:lnTo>
                      <a:pt x="572" y="815"/>
                    </a:lnTo>
                    <a:lnTo>
                      <a:pt x="575" y="840"/>
                    </a:lnTo>
                    <a:lnTo>
                      <a:pt x="572" y="864"/>
                    </a:lnTo>
                    <a:lnTo>
                      <a:pt x="546" y="872"/>
                    </a:lnTo>
                    <a:lnTo>
                      <a:pt x="502" y="883"/>
                    </a:lnTo>
                    <a:lnTo>
                      <a:pt x="443" y="910"/>
                    </a:lnTo>
                    <a:lnTo>
                      <a:pt x="359" y="922"/>
                    </a:lnTo>
                    <a:lnTo>
                      <a:pt x="328" y="937"/>
                    </a:lnTo>
                    <a:lnTo>
                      <a:pt x="349" y="948"/>
                    </a:lnTo>
                    <a:lnTo>
                      <a:pt x="424" y="937"/>
                    </a:lnTo>
                    <a:lnTo>
                      <a:pt x="475" y="918"/>
                    </a:lnTo>
                    <a:lnTo>
                      <a:pt x="510" y="905"/>
                    </a:lnTo>
                    <a:lnTo>
                      <a:pt x="540" y="899"/>
                    </a:lnTo>
                    <a:lnTo>
                      <a:pt x="535" y="922"/>
                    </a:lnTo>
                    <a:lnTo>
                      <a:pt x="548" y="954"/>
                    </a:lnTo>
                    <a:lnTo>
                      <a:pt x="568" y="973"/>
                    </a:lnTo>
                    <a:lnTo>
                      <a:pt x="572" y="995"/>
                    </a:lnTo>
                    <a:lnTo>
                      <a:pt x="572" y="1014"/>
                    </a:lnTo>
                    <a:lnTo>
                      <a:pt x="546" y="1025"/>
                    </a:lnTo>
                    <a:lnTo>
                      <a:pt x="497" y="1027"/>
                    </a:lnTo>
                    <a:lnTo>
                      <a:pt x="462" y="1038"/>
                    </a:lnTo>
                    <a:lnTo>
                      <a:pt x="385" y="1064"/>
                    </a:lnTo>
                    <a:lnTo>
                      <a:pt x="342" y="1066"/>
                    </a:lnTo>
                    <a:lnTo>
                      <a:pt x="328" y="1085"/>
                    </a:lnTo>
                    <a:lnTo>
                      <a:pt x="347" y="1092"/>
                    </a:lnTo>
                    <a:lnTo>
                      <a:pt x="385" y="1084"/>
                    </a:lnTo>
                    <a:lnTo>
                      <a:pt x="443" y="1066"/>
                    </a:lnTo>
                    <a:lnTo>
                      <a:pt x="475" y="1054"/>
                    </a:lnTo>
                    <a:lnTo>
                      <a:pt x="516" y="1044"/>
                    </a:lnTo>
                    <a:lnTo>
                      <a:pt x="548" y="1046"/>
                    </a:lnTo>
                    <a:lnTo>
                      <a:pt x="559" y="1046"/>
                    </a:lnTo>
                    <a:lnTo>
                      <a:pt x="559" y="1076"/>
                    </a:lnTo>
                    <a:lnTo>
                      <a:pt x="568" y="1092"/>
                    </a:lnTo>
                    <a:lnTo>
                      <a:pt x="510" y="1105"/>
                    </a:lnTo>
                    <a:lnTo>
                      <a:pt x="458" y="1144"/>
                    </a:lnTo>
                    <a:lnTo>
                      <a:pt x="401" y="1163"/>
                    </a:lnTo>
                    <a:lnTo>
                      <a:pt x="361" y="1169"/>
                    </a:lnTo>
                    <a:lnTo>
                      <a:pt x="329" y="1187"/>
                    </a:lnTo>
                    <a:lnTo>
                      <a:pt x="342" y="1199"/>
                    </a:lnTo>
                    <a:lnTo>
                      <a:pt x="374" y="1188"/>
                    </a:lnTo>
                    <a:lnTo>
                      <a:pt x="410" y="1176"/>
                    </a:lnTo>
                    <a:lnTo>
                      <a:pt x="452" y="1169"/>
                    </a:lnTo>
                    <a:lnTo>
                      <a:pt x="488" y="1147"/>
                    </a:lnTo>
                    <a:lnTo>
                      <a:pt x="508" y="1128"/>
                    </a:lnTo>
                    <a:lnTo>
                      <a:pt x="534" y="1124"/>
                    </a:lnTo>
                    <a:lnTo>
                      <a:pt x="565" y="1124"/>
                    </a:lnTo>
                    <a:lnTo>
                      <a:pt x="575" y="1128"/>
                    </a:lnTo>
                    <a:lnTo>
                      <a:pt x="586" y="1150"/>
                    </a:lnTo>
                    <a:lnTo>
                      <a:pt x="592" y="1176"/>
                    </a:lnTo>
                    <a:lnTo>
                      <a:pt x="586" y="1199"/>
                    </a:lnTo>
                    <a:lnTo>
                      <a:pt x="572" y="1212"/>
                    </a:lnTo>
                    <a:lnTo>
                      <a:pt x="562" y="1245"/>
                    </a:lnTo>
                    <a:lnTo>
                      <a:pt x="572" y="1258"/>
                    </a:lnTo>
                    <a:lnTo>
                      <a:pt x="586" y="1271"/>
                    </a:lnTo>
                    <a:lnTo>
                      <a:pt x="586" y="1283"/>
                    </a:lnTo>
                    <a:lnTo>
                      <a:pt x="568" y="128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6" name="Freeform 437"/>
              <p:cNvSpPr>
                <a:spLocks/>
              </p:cNvSpPr>
              <p:nvPr/>
            </p:nvSpPr>
            <p:spPr bwMode="auto">
              <a:xfrm>
                <a:off x="4612" y="1870"/>
                <a:ext cx="48" cy="16"/>
              </a:xfrm>
              <a:custGeom>
                <a:avLst/>
                <a:gdLst>
                  <a:gd name="T0" fmla="*/ 0 w 193"/>
                  <a:gd name="T1" fmla="*/ 50 h 63"/>
                  <a:gd name="T2" fmla="*/ 77 w 193"/>
                  <a:gd name="T3" fmla="*/ 48 h 63"/>
                  <a:gd name="T4" fmla="*/ 107 w 193"/>
                  <a:gd name="T5" fmla="*/ 31 h 63"/>
                  <a:gd name="T6" fmla="*/ 132 w 193"/>
                  <a:gd name="T7" fmla="*/ 12 h 63"/>
                  <a:gd name="T8" fmla="*/ 180 w 193"/>
                  <a:gd name="T9" fmla="*/ 0 h 63"/>
                  <a:gd name="T10" fmla="*/ 193 w 193"/>
                  <a:gd name="T11" fmla="*/ 12 h 63"/>
                  <a:gd name="T12" fmla="*/ 173 w 193"/>
                  <a:gd name="T13" fmla="*/ 18 h 63"/>
                  <a:gd name="T14" fmla="*/ 139 w 193"/>
                  <a:gd name="T15" fmla="*/ 36 h 63"/>
                  <a:gd name="T16" fmla="*/ 121 w 193"/>
                  <a:gd name="T17" fmla="*/ 48 h 63"/>
                  <a:gd name="T18" fmla="*/ 90 w 193"/>
                  <a:gd name="T19" fmla="*/ 56 h 63"/>
                  <a:gd name="T20" fmla="*/ 42 w 193"/>
                  <a:gd name="T21" fmla="*/ 61 h 63"/>
                  <a:gd name="T22" fmla="*/ 4 w 193"/>
                  <a:gd name="T23" fmla="*/ 63 h 63"/>
                  <a:gd name="T24" fmla="*/ 0 w 193"/>
                  <a:gd name="T25" fmla="*/ 50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3"/>
                  <a:gd name="T40" fmla="*/ 0 h 63"/>
                  <a:gd name="T41" fmla="*/ 193 w 193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3" h="63">
                    <a:moveTo>
                      <a:pt x="0" y="50"/>
                    </a:moveTo>
                    <a:lnTo>
                      <a:pt x="77" y="48"/>
                    </a:lnTo>
                    <a:lnTo>
                      <a:pt x="107" y="31"/>
                    </a:lnTo>
                    <a:lnTo>
                      <a:pt x="132" y="12"/>
                    </a:lnTo>
                    <a:lnTo>
                      <a:pt x="180" y="0"/>
                    </a:lnTo>
                    <a:lnTo>
                      <a:pt x="193" y="12"/>
                    </a:lnTo>
                    <a:lnTo>
                      <a:pt x="173" y="18"/>
                    </a:lnTo>
                    <a:lnTo>
                      <a:pt x="139" y="36"/>
                    </a:lnTo>
                    <a:lnTo>
                      <a:pt x="121" y="48"/>
                    </a:lnTo>
                    <a:lnTo>
                      <a:pt x="90" y="56"/>
                    </a:lnTo>
                    <a:lnTo>
                      <a:pt x="42" y="61"/>
                    </a:lnTo>
                    <a:lnTo>
                      <a:pt x="4" y="63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7" name="Freeform 438"/>
              <p:cNvSpPr>
                <a:spLocks/>
              </p:cNvSpPr>
              <p:nvPr/>
            </p:nvSpPr>
            <p:spPr bwMode="auto">
              <a:xfrm>
                <a:off x="4538" y="1522"/>
                <a:ext cx="140" cy="77"/>
              </a:xfrm>
              <a:custGeom>
                <a:avLst/>
                <a:gdLst>
                  <a:gd name="T0" fmla="*/ 16 w 562"/>
                  <a:gd name="T1" fmla="*/ 35 h 305"/>
                  <a:gd name="T2" fmla="*/ 84 w 562"/>
                  <a:gd name="T3" fmla="*/ 39 h 305"/>
                  <a:gd name="T4" fmla="*/ 154 w 562"/>
                  <a:gd name="T5" fmla="*/ 41 h 305"/>
                  <a:gd name="T6" fmla="*/ 200 w 562"/>
                  <a:gd name="T7" fmla="*/ 41 h 305"/>
                  <a:gd name="T8" fmla="*/ 236 w 562"/>
                  <a:gd name="T9" fmla="*/ 33 h 305"/>
                  <a:gd name="T10" fmla="*/ 295 w 562"/>
                  <a:gd name="T11" fmla="*/ 16 h 305"/>
                  <a:gd name="T12" fmla="*/ 323 w 562"/>
                  <a:gd name="T13" fmla="*/ 0 h 305"/>
                  <a:gd name="T14" fmla="*/ 361 w 562"/>
                  <a:gd name="T15" fmla="*/ 22 h 305"/>
                  <a:gd name="T16" fmla="*/ 423 w 562"/>
                  <a:gd name="T17" fmla="*/ 65 h 305"/>
                  <a:gd name="T18" fmla="*/ 469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9 h 305"/>
                  <a:gd name="T24" fmla="*/ 529 w 562"/>
                  <a:gd name="T25" fmla="*/ 196 h 305"/>
                  <a:gd name="T26" fmla="*/ 497 w 562"/>
                  <a:gd name="T27" fmla="*/ 226 h 305"/>
                  <a:gd name="T28" fmla="*/ 445 w 562"/>
                  <a:gd name="T29" fmla="*/ 248 h 305"/>
                  <a:gd name="T30" fmla="*/ 391 w 562"/>
                  <a:gd name="T31" fmla="*/ 271 h 305"/>
                  <a:gd name="T32" fmla="*/ 342 w 562"/>
                  <a:gd name="T33" fmla="*/ 290 h 305"/>
                  <a:gd name="T34" fmla="*/ 296 w 562"/>
                  <a:gd name="T35" fmla="*/ 297 h 305"/>
                  <a:gd name="T36" fmla="*/ 249 w 562"/>
                  <a:gd name="T37" fmla="*/ 305 h 305"/>
                  <a:gd name="T38" fmla="*/ 190 w 562"/>
                  <a:gd name="T39" fmla="*/ 265 h 305"/>
                  <a:gd name="T40" fmla="*/ 146 w 562"/>
                  <a:gd name="T41" fmla="*/ 229 h 305"/>
                  <a:gd name="T42" fmla="*/ 94 w 562"/>
                  <a:gd name="T43" fmla="*/ 183 h 305"/>
                  <a:gd name="T44" fmla="*/ 51 w 562"/>
                  <a:gd name="T45" fmla="*/ 137 h 305"/>
                  <a:gd name="T46" fmla="*/ 19 w 562"/>
                  <a:gd name="T47" fmla="*/ 106 h 305"/>
                  <a:gd name="T48" fmla="*/ 0 w 562"/>
                  <a:gd name="T49" fmla="*/ 60 h 305"/>
                  <a:gd name="T50" fmla="*/ 16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6" y="35"/>
                    </a:moveTo>
                    <a:lnTo>
                      <a:pt x="84" y="39"/>
                    </a:lnTo>
                    <a:lnTo>
                      <a:pt x="154" y="41"/>
                    </a:lnTo>
                    <a:lnTo>
                      <a:pt x="200" y="41"/>
                    </a:lnTo>
                    <a:lnTo>
                      <a:pt x="236" y="33"/>
                    </a:lnTo>
                    <a:lnTo>
                      <a:pt x="295" y="16"/>
                    </a:lnTo>
                    <a:lnTo>
                      <a:pt x="323" y="0"/>
                    </a:lnTo>
                    <a:lnTo>
                      <a:pt x="361" y="22"/>
                    </a:lnTo>
                    <a:lnTo>
                      <a:pt x="423" y="65"/>
                    </a:lnTo>
                    <a:lnTo>
                      <a:pt x="469" y="96"/>
                    </a:lnTo>
                    <a:lnTo>
                      <a:pt x="527" y="137"/>
                    </a:lnTo>
                    <a:lnTo>
                      <a:pt x="562" y="169"/>
                    </a:lnTo>
                    <a:lnTo>
                      <a:pt x="529" y="196"/>
                    </a:lnTo>
                    <a:lnTo>
                      <a:pt x="497" y="226"/>
                    </a:lnTo>
                    <a:lnTo>
                      <a:pt x="445" y="248"/>
                    </a:lnTo>
                    <a:lnTo>
                      <a:pt x="391" y="271"/>
                    </a:lnTo>
                    <a:lnTo>
                      <a:pt x="342" y="290"/>
                    </a:lnTo>
                    <a:lnTo>
                      <a:pt x="296" y="297"/>
                    </a:lnTo>
                    <a:lnTo>
                      <a:pt x="249" y="305"/>
                    </a:lnTo>
                    <a:lnTo>
                      <a:pt x="190" y="265"/>
                    </a:lnTo>
                    <a:lnTo>
                      <a:pt x="146" y="229"/>
                    </a:lnTo>
                    <a:lnTo>
                      <a:pt x="94" y="183"/>
                    </a:lnTo>
                    <a:lnTo>
                      <a:pt x="51" y="137"/>
                    </a:lnTo>
                    <a:lnTo>
                      <a:pt x="19" y="106"/>
                    </a:lnTo>
                    <a:lnTo>
                      <a:pt x="0" y="60"/>
                    </a:lnTo>
                    <a:lnTo>
                      <a:pt x="16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8" name="Freeform 439"/>
              <p:cNvSpPr>
                <a:spLocks/>
              </p:cNvSpPr>
              <p:nvPr/>
            </p:nvSpPr>
            <p:spPr bwMode="auto">
              <a:xfrm>
                <a:off x="4534" y="1520"/>
                <a:ext cx="152" cy="89"/>
              </a:xfrm>
              <a:custGeom>
                <a:avLst/>
                <a:gdLst>
                  <a:gd name="T0" fmla="*/ 298 w 608"/>
                  <a:gd name="T1" fmla="*/ 304 h 355"/>
                  <a:gd name="T2" fmla="*/ 394 w 608"/>
                  <a:gd name="T3" fmla="*/ 277 h 355"/>
                  <a:gd name="T4" fmla="*/ 472 w 608"/>
                  <a:gd name="T5" fmla="*/ 244 h 355"/>
                  <a:gd name="T6" fmla="*/ 528 w 608"/>
                  <a:gd name="T7" fmla="*/ 204 h 355"/>
                  <a:gd name="T8" fmla="*/ 550 w 608"/>
                  <a:gd name="T9" fmla="*/ 181 h 355"/>
                  <a:gd name="T10" fmla="*/ 470 w 608"/>
                  <a:gd name="T11" fmla="*/ 108 h 355"/>
                  <a:gd name="T12" fmla="*/ 405 w 608"/>
                  <a:gd name="T13" fmla="*/ 68 h 355"/>
                  <a:gd name="T14" fmla="*/ 342 w 608"/>
                  <a:gd name="T15" fmla="*/ 30 h 355"/>
                  <a:gd name="T16" fmla="*/ 330 w 608"/>
                  <a:gd name="T17" fmla="*/ 30 h 355"/>
                  <a:gd name="T18" fmla="*/ 291 w 608"/>
                  <a:gd name="T19" fmla="*/ 43 h 355"/>
                  <a:gd name="T20" fmla="*/ 239 w 608"/>
                  <a:gd name="T21" fmla="*/ 57 h 355"/>
                  <a:gd name="T22" fmla="*/ 147 w 608"/>
                  <a:gd name="T23" fmla="*/ 65 h 355"/>
                  <a:gd name="T24" fmla="*/ 57 w 608"/>
                  <a:gd name="T25" fmla="*/ 62 h 355"/>
                  <a:gd name="T26" fmla="*/ 33 w 608"/>
                  <a:gd name="T27" fmla="*/ 65 h 355"/>
                  <a:gd name="T28" fmla="*/ 33 w 608"/>
                  <a:gd name="T29" fmla="*/ 81 h 355"/>
                  <a:gd name="T30" fmla="*/ 52 w 608"/>
                  <a:gd name="T31" fmla="*/ 108 h 355"/>
                  <a:gd name="T32" fmla="*/ 89 w 608"/>
                  <a:gd name="T33" fmla="*/ 155 h 355"/>
                  <a:gd name="T34" fmla="*/ 136 w 608"/>
                  <a:gd name="T35" fmla="*/ 193 h 355"/>
                  <a:gd name="T36" fmla="*/ 193 w 608"/>
                  <a:gd name="T37" fmla="*/ 250 h 355"/>
                  <a:gd name="T38" fmla="*/ 250 w 608"/>
                  <a:gd name="T39" fmla="*/ 290 h 355"/>
                  <a:gd name="T40" fmla="*/ 285 w 608"/>
                  <a:gd name="T41" fmla="*/ 314 h 355"/>
                  <a:gd name="T42" fmla="*/ 296 w 608"/>
                  <a:gd name="T43" fmla="*/ 340 h 355"/>
                  <a:gd name="T44" fmla="*/ 282 w 608"/>
                  <a:gd name="T45" fmla="*/ 355 h 355"/>
                  <a:gd name="T46" fmla="*/ 263 w 608"/>
                  <a:gd name="T47" fmla="*/ 347 h 355"/>
                  <a:gd name="T48" fmla="*/ 207 w 608"/>
                  <a:gd name="T49" fmla="*/ 295 h 355"/>
                  <a:gd name="T50" fmla="*/ 136 w 608"/>
                  <a:gd name="T51" fmla="*/ 236 h 355"/>
                  <a:gd name="T52" fmla="*/ 84 w 608"/>
                  <a:gd name="T53" fmla="*/ 193 h 355"/>
                  <a:gd name="T54" fmla="*/ 49 w 608"/>
                  <a:gd name="T55" fmla="*/ 155 h 355"/>
                  <a:gd name="T56" fmla="*/ 19 w 608"/>
                  <a:gd name="T57" fmla="*/ 114 h 355"/>
                  <a:gd name="T58" fmla="*/ 6 w 608"/>
                  <a:gd name="T59" fmla="*/ 87 h 355"/>
                  <a:gd name="T60" fmla="*/ 0 w 608"/>
                  <a:gd name="T61" fmla="*/ 57 h 355"/>
                  <a:gd name="T62" fmla="*/ 9 w 608"/>
                  <a:gd name="T63" fmla="*/ 38 h 355"/>
                  <a:gd name="T64" fmla="*/ 30 w 608"/>
                  <a:gd name="T65" fmla="*/ 30 h 355"/>
                  <a:gd name="T66" fmla="*/ 69 w 608"/>
                  <a:gd name="T67" fmla="*/ 32 h 355"/>
                  <a:gd name="T68" fmla="*/ 142 w 608"/>
                  <a:gd name="T69" fmla="*/ 43 h 355"/>
                  <a:gd name="T70" fmla="*/ 204 w 608"/>
                  <a:gd name="T71" fmla="*/ 43 h 355"/>
                  <a:gd name="T72" fmla="*/ 250 w 608"/>
                  <a:gd name="T73" fmla="*/ 30 h 355"/>
                  <a:gd name="T74" fmla="*/ 302 w 608"/>
                  <a:gd name="T75" fmla="*/ 19 h 355"/>
                  <a:gd name="T76" fmla="*/ 323 w 608"/>
                  <a:gd name="T77" fmla="*/ 0 h 355"/>
                  <a:gd name="T78" fmla="*/ 347 w 608"/>
                  <a:gd name="T79" fmla="*/ 0 h 355"/>
                  <a:gd name="T80" fmla="*/ 401 w 608"/>
                  <a:gd name="T81" fmla="*/ 32 h 355"/>
                  <a:gd name="T82" fmla="*/ 459 w 608"/>
                  <a:gd name="T83" fmla="*/ 77 h 355"/>
                  <a:gd name="T84" fmla="*/ 521 w 608"/>
                  <a:gd name="T85" fmla="*/ 116 h 355"/>
                  <a:gd name="T86" fmla="*/ 556 w 608"/>
                  <a:gd name="T87" fmla="*/ 141 h 355"/>
                  <a:gd name="T88" fmla="*/ 592 w 608"/>
                  <a:gd name="T89" fmla="*/ 166 h 355"/>
                  <a:gd name="T90" fmla="*/ 608 w 608"/>
                  <a:gd name="T91" fmla="*/ 174 h 355"/>
                  <a:gd name="T92" fmla="*/ 599 w 608"/>
                  <a:gd name="T93" fmla="*/ 192 h 355"/>
                  <a:gd name="T94" fmla="*/ 573 w 608"/>
                  <a:gd name="T95" fmla="*/ 206 h 355"/>
                  <a:gd name="T96" fmla="*/ 543 w 608"/>
                  <a:gd name="T97" fmla="*/ 233 h 355"/>
                  <a:gd name="T98" fmla="*/ 515 w 608"/>
                  <a:gd name="T99" fmla="*/ 244 h 355"/>
                  <a:gd name="T100" fmla="*/ 464 w 608"/>
                  <a:gd name="T101" fmla="*/ 265 h 355"/>
                  <a:gd name="T102" fmla="*/ 426 w 608"/>
                  <a:gd name="T103" fmla="*/ 282 h 355"/>
                  <a:gd name="T104" fmla="*/ 386 w 608"/>
                  <a:gd name="T105" fmla="*/ 307 h 355"/>
                  <a:gd name="T106" fmla="*/ 342 w 608"/>
                  <a:gd name="T107" fmla="*/ 314 h 355"/>
                  <a:gd name="T108" fmla="*/ 309 w 608"/>
                  <a:gd name="T109" fmla="*/ 317 h 355"/>
                  <a:gd name="T110" fmla="*/ 298 w 608"/>
                  <a:gd name="T111" fmla="*/ 304 h 35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8"/>
                  <a:gd name="T169" fmla="*/ 0 h 355"/>
                  <a:gd name="T170" fmla="*/ 608 w 608"/>
                  <a:gd name="T171" fmla="*/ 355 h 35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8" h="355">
                    <a:moveTo>
                      <a:pt x="298" y="304"/>
                    </a:moveTo>
                    <a:lnTo>
                      <a:pt x="394" y="277"/>
                    </a:lnTo>
                    <a:lnTo>
                      <a:pt x="472" y="244"/>
                    </a:lnTo>
                    <a:lnTo>
                      <a:pt x="528" y="204"/>
                    </a:lnTo>
                    <a:lnTo>
                      <a:pt x="550" y="181"/>
                    </a:lnTo>
                    <a:lnTo>
                      <a:pt x="470" y="108"/>
                    </a:lnTo>
                    <a:lnTo>
                      <a:pt x="405" y="68"/>
                    </a:lnTo>
                    <a:lnTo>
                      <a:pt x="342" y="30"/>
                    </a:lnTo>
                    <a:lnTo>
                      <a:pt x="330" y="30"/>
                    </a:lnTo>
                    <a:lnTo>
                      <a:pt x="291" y="43"/>
                    </a:lnTo>
                    <a:lnTo>
                      <a:pt x="239" y="57"/>
                    </a:lnTo>
                    <a:lnTo>
                      <a:pt x="147" y="65"/>
                    </a:lnTo>
                    <a:lnTo>
                      <a:pt x="57" y="62"/>
                    </a:lnTo>
                    <a:lnTo>
                      <a:pt x="33" y="65"/>
                    </a:lnTo>
                    <a:lnTo>
                      <a:pt x="33" y="81"/>
                    </a:lnTo>
                    <a:lnTo>
                      <a:pt x="52" y="108"/>
                    </a:lnTo>
                    <a:lnTo>
                      <a:pt x="89" y="155"/>
                    </a:lnTo>
                    <a:lnTo>
                      <a:pt x="136" y="193"/>
                    </a:lnTo>
                    <a:lnTo>
                      <a:pt x="193" y="250"/>
                    </a:lnTo>
                    <a:lnTo>
                      <a:pt x="250" y="290"/>
                    </a:lnTo>
                    <a:lnTo>
                      <a:pt x="285" y="314"/>
                    </a:lnTo>
                    <a:lnTo>
                      <a:pt x="296" y="340"/>
                    </a:lnTo>
                    <a:lnTo>
                      <a:pt x="282" y="355"/>
                    </a:lnTo>
                    <a:lnTo>
                      <a:pt x="263" y="347"/>
                    </a:lnTo>
                    <a:lnTo>
                      <a:pt x="207" y="295"/>
                    </a:lnTo>
                    <a:lnTo>
                      <a:pt x="136" y="236"/>
                    </a:lnTo>
                    <a:lnTo>
                      <a:pt x="84" y="193"/>
                    </a:lnTo>
                    <a:lnTo>
                      <a:pt x="49" y="155"/>
                    </a:lnTo>
                    <a:lnTo>
                      <a:pt x="19" y="114"/>
                    </a:lnTo>
                    <a:lnTo>
                      <a:pt x="6" y="87"/>
                    </a:lnTo>
                    <a:lnTo>
                      <a:pt x="0" y="57"/>
                    </a:lnTo>
                    <a:lnTo>
                      <a:pt x="9" y="38"/>
                    </a:lnTo>
                    <a:lnTo>
                      <a:pt x="30" y="30"/>
                    </a:lnTo>
                    <a:lnTo>
                      <a:pt x="69" y="32"/>
                    </a:lnTo>
                    <a:lnTo>
                      <a:pt x="142" y="43"/>
                    </a:lnTo>
                    <a:lnTo>
                      <a:pt x="204" y="43"/>
                    </a:lnTo>
                    <a:lnTo>
                      <a:pt x="250" y="30"/>
                    </a:lnTo>
                    <a:lnTo>
                      <a:pt x="302" y="19"/>
                    </a:lnTo>
                    <a:lnTo>
                      <a:pt x="323" y="0"/>
                    </a:lnTo>
                    <a:lnTo>
                      <a:pt x="347" y="0"/>
                    </a:lnTo>
                    <a:lnTo>
                      <a:pt x="401" y="32"/>
                    </a:lnTo>
                    <a:lnTo>
                      <a:pt x="459" y="77"/>
                    </a:lnTo>
                    <a:lnTo>
                      <a:pt x="521" y="116"/>
                    </a:lnTo>
                    <a:lnTo>
                      <a:pt x="556" y="141"/>
                    </a:lnTo>
                    <a:lnTo>
                      <a:pt x="592" y="166"/>
                    </a:lnTo>
                    <a:lnTo>
                      <a:pt x="608" y="174"/>
                    </a:lnTo>
                    <a:lnTo>
                      <a:pt x="599" y="192"/>
                    </a:lnTo>
                    <a:lnTo>
                      <a:pt x="573" y="206"/>
                    </a:lnTo>
                    <a:lnTo>
                      <a:pt x="543" y="233"/>
                    </a:lnTo>
                    <a:lnTo>
                      <a:pt x="515" y="244"/>
                    </a:lnTo>
                    <a:lnTo>
                      <a:pt x="464" y="265"/>
                    </a:lnTo>
                    <a:lnTo>
                      <a:pt x="426" y="282"/>
                    </a:lnTo>
                    <a:lnTo>
                      <a:pt x="386" y="307"/>
                    </a:lnTo>
                    <a:lnTo>
                      <a:pt x="342" y="314"/>
                    </a:lnTo>
                    <a:lnTo>
                      <a:pt x="309" y="317"/>
                    </a:lnTo>
                    <a:lnTo>
                      <a:pt x="298" y="3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9" name="Freeform 440"/>
              <p:cNvSpPr>
                <a:spLocks/>
              </p:cNvSpPr>
              <p:nvPr/>
            </p:nvSpPr>
            <p:spPr bwMode="auto">
              <a:xfrm>
                <a:off x="4620" y="1587"/>
                <a:ext cx="48" cy="31"/>
              </a:xfrm>
              <a:custGeom>
                <a:avLst/>
                <a:gdLst>
                  <a:gd name="T0" fmla="*/ 162 w 192"/>
                  <a:gd name="T1" fmla="*/ 14 h 122"/>
                  <a:gd name="T2" fmla="*/ 121 w 192"/>
                  <a:gd name="T3" fmla="*/ 47 h 122"/>
                  <a:gd name="T4" fmla="*/ 84 w 192"/>
                  <a:gd name="T5" fmla="*/ 77 h 122"/>
                  <a:gd name="T6" fmla="*/ 30 w 192"/>
                  <a:gd name="T7" fmla="*/ 96 h 122"/>
                  <a:gd name="T8" fmla="*/ 0 w 192"/>
                  <a:gd name="T9" fmla="*/ 105 h 122"/>
                  <a:gd name="T10" fmla="*/ 24 w 192"/>
                  <a:gd name="T11" fmla="*/ 122 h 122"/>
                  <a:gd name="T12" fmla="*/ 62 w 192"/>
                  <a:gd name="T13" fmla="*/ 116 h 122"/>
                  <a:gd name="T14" fmla="*/ 122 w 192"/>
                  <a:gd name="T15" fmla="*/ 77 h 122"/>
                  <a:gd name="T16" fmla="*/ 192 w 192"/>
                  <a:gd name="T17" fmla="*/ 0 h 122"/>
                  <a:gd name="T18" fmla="*/ 162 w 192"/>
                  <a:gd name="T19" fmla="*/ 14 h 1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2"/>
                  <a:gd name="T32" fmla="*/ 192 w 192"/>
                  <a:gd name="T33" fmla="*/ 122 h 12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2">
                    <a:moveTo>
                      <a:pt x="162" y="14"/>
                    </a:moveTo>
                    <a:lnTo>
                      <a:pt x="121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5"/>
                    </a:lnTo>
                    <a:lnTo>
                      <a:pt x="24" y="122"/>
                    </a:lnTo>
                    <a:lnTo>
                      <a:pt x="62" y="116"/>
                    </a:lnTo>
                    <a:lnTo>
                      <a:pt x="122" y="77"/>
                    </a:lnTo>
                    <a:lnTo>
                      <a:pt x="192" y="0"/>
                    </a:lnTo>
                    <a:lnTo>
                      <a:pt x="162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01" name="Group 443"/>
            <p:cNvGrpSpPr>
              <a:grpSpLocks/>
            </p:cNvGrpSpPr>
            <p:nvPr/>
          </p:nvGrpSpPr>
          <p:grpSpPr bwMode="auto">
            <a:xfrm>
              <a:off x="4656" y="3312"/>
              <a:ext cx="432" cy="384"/>
              <a:chOff x="4368" y="1353"/>
              <a:chExt cx="1030" cy="942"/>
            </a:xfrm>
          </p:grpSpPr>
          <p:sp>
            <p:nvSpPr>
              <p:cNvPr id="43" name="Freeform 444"/>
              <p:cNvSpPr>
                <a:spLocks/>
              </p:cNvSpPr>
              <p:nvPr/>
            </p:nvSpPr>
            <p:spPr bwMode="auto">
              <a:xfrm>
                <a:off x="4394" y="1369"/>
                <a:ext cx="986" cy="546"/>
              </a:xfrm>
              <a:custGeom>
                <a:avLst/>
                <a:gdLst>
                  <a:gd name="T0" fmla="*/ 814 w 2959"/>
                  <a:gd name="T1" fmla="*/ 432 h 1639"/>
                  <a:gd name="T2" fmla="*/ 1275 w 2959"/>
                  <a:gd name="T3" fmla="*/ 0 h 1639"/>
                  <a:gd name="T4" fmla="*/ 1937 w 2959"/>
                  <a:gd name="T5" fmla="*/ 229 h 1639"/>
                  <a:gd name="T6" fmla="*/ 2959 w 2959"/>
                  <a:gd name="T7" fmla="*/ 696 h 1639"/>
                  <a:gd name="T8" fmla="*/ 2422 w 2959"/>
                  <a:gd name="T9" fmla="*/ 1405 h 1639"/>
                  <a:gd name="T10" fmla="*/ 1961 w 2959"/>
                  <a:gd name="T11" fmla="*/ 521 h 1639"/>
                  <a:gd name="T12" fmla="*/ 1310 w 2959"/>
                  <a:gd name="T13" fmla="*/ 636 h 1639"/>
                  <a:gd name="T14" fmla="*/ 1058 w 2959"/>
                  <a:gd name="T15" fmla="*/ 700 h 1639"/>
                  <a:gd name="T16" fmla="*/ 889 w 2959"/>
                  <a:gd name="T17" fmla="*/ 815 h 1639"/>
                  <a:gd name="T18" fmla="*/ 651 w 2959"/>
                  <a:gd name="T19" fmla="*/ 1639 h 1639"/>
                  <a:gd name="T20" fmla="*/ 228 w 2959"/>
                  <a:gd name="T21" fmla="*/ 1432 h 1639"/>
                  <a:gd name="T22" fmla="*/ 0 w 2959"/>
                  <a:gd name="T23" fmla="*/ 1311 h 1639"/>
                  <a:gd name="T24" fmla="*/ 814 w 2959"/>
                  <a:gd name="T25" fmla="*/ 432 h 1639"/>
                  <a:gd name="T26" fmla="*/ 814 w 2959"/>
                  <a:gd name="T27" fmla="*/ 432 h 16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959"/>
                  <a:gd name="T43" fmla="*/ 0 h 1639"/>
                  <a:gd name="T44" fmla="*/ 2959 w 2959"/>
                  <a:gd name="T45" fmla="*/ 1639 h 163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959" h="1639">
                    <a:moveTo>
                      <a:pt x="814" y="432"/>
                    </a:moveTo>
                    <a:lnTo>
                      <a:pt x="1275" y="0"/>
                    </a:lnTo>
                    <a:lnTo>
                      <a:pt x="1937" y="229"/>
                    </a:lnTo>
                    <a:lnTo>
                      <a:pt x="2959" y="696"/>
                    </a:lnTo>
                    <a:lnTo>
                      <a:pt x="2422" y="1405"/>
                    </a:lnTo>
                    <a:lnTo>
                      <a:pt x="1961" y="521"/>
                    </a:lnTo>
                    <a:lnTo>
                      <a:pt x="1310" y="636"/>
                    </a:lnTo>
                    <a:lnTo>
                      <a:pt x="1058" y="700"/>
                    </a:lnTo>
                    <a:lnTo>
                      <a:pt x="889" y="815"/>
                    </a:lnTo>
                    <a:lnTo>
                      <a:pt x="651" y="1639"/>
                    </a:lnTo>
                    <a:lnTo>
                      <a:pt x="228" y="1432"/>
                    </a:lnTo>
                    <a:lnTo>
                      <a:pt x="0" y="1311"/>
                    </a:lnTo>
                    <a:lnTo>
                      <a:pt x="814" y="432"/>
                    </a:lnTo>
                    <a:close/>
                  </a:path>
                </a:pathLst>
              </a:custGeom>
              <a:solidFill>
                <a:srgbClr val="FFE5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Freeform 445"/>
              <p:cNvSpPr>
                <a:spLocks/>
              </p:cNvSpPr>
              <p:nvPr/>
            </p:nvSpPr>
            <p:spPr bwMode="auto">
              <a:xfrm>
                <a:off x="4845" y="1954"/>
                <a:ext cx="506" cy="327"/>
              </a:xfrm>
              <a:custGeom>
                <a:avLst/>
                <a:gdLst>
                  <a:gd name="T0" fmla="*/ 1285 w 1518"/>
                  <a:gd name="T1" fmla="*/ 0 h 979"/>
                  <a:gd name="T2" fmla="*/ 1459 w 1518"/>
                  <a:gd name="T3" fmla="*/ 218 h 979"/>
                  <a:gd name="T4" fmla="*/ 1518 w 1518"/>
                  <a:gd name="T5" fmla="*/ 616 h 979"/>
                  <a:gd name="T6" fmla="*/ 769 w 1518"/>
                  <a:gd name="T7" fmla="*/ 859 h 979"/>
                  <a:gd name="T8" fmla="*/ 130 w 1518"/>
                  <a:gd name="T9" fmla="*/ 979 h 979"/>
                  <a:gd name="T10" fmla="*/ 189 w 1518"/>
                  <a:gd name="T11" fmla="*/ 804 h 979"/>
                  <a:gd name="T12" fmla="*/ 0 w 1518"/>
                  <a:gd name="T13" fmla="*/ 506 h 979"/>
                  <a:gd name="T14" fmla="*/ 347 w 1518"/>
                  <a:gd name="T15" fmla="*/ 338 h 979"/>
                  <a:gd name="T16" fmla="*/ 744 w 1518"/>
                  <a:gd name="T17" fmla="*/ 159 h 979"/>
                  <a:gd name="T18" fmla="*/ 874 w 1518"/>
                  <a:gd name="T19" fmla="*/ 140 h 979"/>
                  <a:gd name="T20" fmla="*/ 1101 w 1518"/>
                  <a:gd name="T21" fmla="*/ 224 h 979"/>
                  <a:gd name="T22" fmla="*/ 1012 w 1518"/>
                  <a:gd name="T23" fmla="*/ 104 h 979"/>
                  <a:gd name="T24" fmla="*/ 1285 w 1518"/>
                  <a:gd name="T25" fmla="*/ 0 h 979"/>
                  <a:gd name="T26" fmla="*/ 1285 w 1518"/>
                  <a:gd name="T27" fmla="*/ 0 h 9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18"/>
                  <a:gd name="T43" fmla="*/ 0 h 979"/>
                  <a:gd name="T44" fmla="*/ 1518 w 1518"/>
                  <a:gd name="T45" fmla="*/ 979 h 9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18" h="979">
                    <a:moveTo>
                      <a:pt x="1285" y="0"/>
                    </a:moveTo>
                    <a:lnTo>
                      <a:pt x="1459" y="218"/>
                    </a:lnTo>
                    <a:lnTo>
                      <a:pt x="1518" y="616"/>
                    </a:lnTo>
                    <a:lnTo>
                      <a:pt x="769" y="859"/>
                    </a:lnTo>
                    <a:lnTo>
                      <a:pt x="130" y="979"/>
                    </a:lnTo>
                    <a:lnTo>
                      <a:pt x="189" y="804"/>
                    </a:lnTo>
                    <a:lnTo>
                      <a:pt x="0" y="506"/>
                    </a:lnTo>
                    <a:lnTo>
                      <a:pt x="347" y="338"/>
                    </a:lnTo>
                    <a:lnTo>
                      <a:pt x="744" y="159"/>
                    </a:lnTo>
                    <a:lnTo>
                      <a:pt x="874" y="140"/>
                    </a:lnTo>
                    <a:lnTo>
                      <a:pt x="1101" y="224"/>
                    </a:lnTo>
                    <a:lnTo>
                      <a:pt x="1012" y="104"/>
                    </a:lnTo>
                    <a:lnTo>
                      <a:pt x="1285" y="0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Freeform 446"/>
              <p:cNvSpPr>
                <a:spLocks/>
              </p:cNvSpPr>
              <p:nvPr/>
            </p:nvSpPr>
            <p:spPr bwMode="auto">
              <a:xfrm>
                <a:off x="4894" y="2075"/>
                <a:ext cx="456" cy="209"/>
              </a:xfrm>
              <a:custGeom>
                <a:avLst/>
                <a:gdLst>
                  <a:gd name="T0" fmla="*/ 39 w 1367"/>
                  <a:gd name="T1" fmla="*/ 447 h 627"/>
                  <a:gd name="T2" fmla="*/ 145 w 1367"/>
                  <a:gd name="T3" fmla="*/ 321 h 627"/>
                  <a:gd name="T4" fmla="*/ 192 w 1367"/>
                  <a:gd name="T5" fmla="*/ 439 h 627"/>
                  <a:gd name="T6" fmla="*/ 373 w 1367"/>
                  <a:gd name="T7" fmla="*/ 281 h 627"/>
                  <a:gd name="T8" fmla="*/ 424 w 1367"/>
                  <a:gd name="T9" fmla="*/ 396 h 627"/>
                  <a:gd name="T10" fmla="*/ 533 w 1367"/>
                  <a:gd name="T11" fmla="*/ 259 h 627"/>
                  <a:gd name="T12" fmla="*/ 575 w 1367"/>
                  <a:gd name="T13" fmla="*/ 368 h 627"/>
                  <a:gd name="T14" fmla="*/ 741 w 1367"/>
                  <a:gd name="T15" fmla="*/ 192 h 627"/>
                  <a:gd name="T16" fmla="*/ 773 w 1367"/>
                  <a:gd name="T17" fmla="*/ 317 h 627"/>
                  <a:gd name="T18" fmla="*/ 967 w 1367"/>
                  <a:gd name="T19" fmla="*/ 133 h 627"/>
                  <a:gd name="T20" fmla="*/ 983 w 1367"/>
                  <a:gd name="T21" fmla="*/ 262 h 627"/>
                  <a:gd name="T22" fmla="*/ 1141 w 1367"/>
                  <a:gd name="T23" fmla="*/ 62 h 627"/>
                  <a:gd name="T24" fmla="*/ 1171 w 1367"/>
                  <a:gd name="T25" fmla="*/ 196 h 627"/>
                  <a:gd name="T26" fmla="*/ 1309 w 1367"/>
                  <a:gd name="T27" fmla="*/ 0 h 627"/>
                  <a:gd name="T28" fmla="*/ 1367 w 1367"/>
                  <a:gd name="T29" fmla="*/ 90 h 627"/>
                  <a:gd name="T30" fmla="*/ 1352 w 1367"/>
                  <a:gd name="T31" fmla="*/ 255 h 627"/>
                  <a:gd name="T32" fmla="*/ 548 w 1367"/>
                  <a:gd name="T33" fmla="*/ 525 h 627"/>
                  <a:gd name="T34" fmla="*/ 0 w 1367"/>
                  <a:gd name="T35" fmla="*/ 627 h 627"/>
                  <a:gd name="T36" fmla="*/ 32 w 1367"/>
                  <a:gd name="T37" fmla="*/ 470 h 627"/>
                  <a:gd name="T38" fmla="*/ 39 w 1367"/>
                  <a:gd name="T39" fmla="*/ 447 h 627"/>
                  <a:gd name="T40" fmla="*/ 39 w 1367"/>
                  <a:gd name="T41" fmla="*/ 447 h 62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367"/>
                  <a:gd name="T64" fmla="*/ 0 h 627"/>
                  <a:gd name="T65" fmla="*/ 1367 w 1367"/>
                  <a:gd name="T66" fmla="*/ 627 h 62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367" h="627">
                    <a:moveTo>
                      <a:pt x="39" y="447"/>
                    </a:moveTo>
                    <a:lnTo>
                      <a:pt x="145" y="321"/>
                    </a:lnTo>
                    <a:lnTo>
                      <a:pt x="192" y="439"/>
                    </a:lnTo>
                    <a:lnTo>
                      <a:pt x="373" y="281"/>
                    </a:lnTo>
                    <a:lnTo>
                      <a:pt x="424" y="396"/>
                    </a:lnTo>
                    <a:lnTo>
                      <a:pt x="533" y="259"/>
                    </a:lnTo>
                    <a:lnTo>
                      <a:pt x="575" y="368"/>
                    </a:lnTo>
                    <a:lnTo>
                      <a:pt x="741" y="192"/>
                    </a:lnTo>
                    <a:lnTo>
                      <a:pt x="773" y="317"/>
                    </a:lnTo>
                    <a:lnTo>
                      <a:pt x="967" y="133"/>
                    </a:lnTo>
                    <a:lnTo>
                      <a:pt x="983" y="262"/>
                    </a:lnTo>
                    <a:lnTo>
                      <a:pt x="1141" y="62"/>
                    </a:lnTo>
                    <a:lnTo>
                      <a:pt x="1171" y="196"/>
                    </a:lnTo>
                    <a:lnTo>
                      <a:pt x="1309" y="0"/>
                    </a:lnTo>
                    <a:lnTo>
                      <a:pt x="1367" y="90"/>
                    </a:lnTo>
                    <a:lnTo>
                      <a:pt x="1352" y="255"/>
                    </a:lnTo>
                    <a:lnTo>
                      <a:pt x="548" y="525"/>
                    </a:lnTo>
                    <a:lnTo>
                      <a:pt x="0" y="627"/>
                    </a:lnTo>
                    <a:lnTo>
                      <a:pt x="32" y="470"/>
                    </a:lnTo>
                    <a:lnTo>
                      <a:pt x="39" y="447"/>
                    </a:lnTo>
                    <a:close/>
                  </a:path>
                </a:pathLst>
              </a:custGeom>
              <a:solidFill>
                <a:srgbClr val="FFA6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" name="Freeform 447"/>
              <p:cNvSpPr>
                <a:spLocks/>
              </p:cNvSpPr>
              <p:nvPr/>
            </p:nvSpPr>
            <p:spPr bwMode="auto">
              <a:xfrm>
                <a:off x="4726" y="1751"/>
                <a:ext cx="40" cy="56"/>
              </a:xfrm>
              <a:custGeom>
                <a:avLst/>
                <a:gdLst>
                  <a:gd name="T0" fmla="*/ 119 w 119"/>
                  <a:gd name="T1" fmla="*/ 0 h 169"/>
                  <a:gd name="T2" fmla="*/ 69 w 119"/>
                  <a:gd name="T3" fmla="*/ 169 h 169"/>
                  <a:gd name="T4" fmla="*/ 0 w 119"/>
                  <a:gd name="T5" fmla="*/ 95 h 169"/>
                  <a:gd name="T6" fmla="*/ 35 w 119"/>
                  <a:gd name="T7" fmla="*/ 19 h 169"/>
                  <a:gd name="T8" fmla="*/ 119 w 119"/>
                  <a:gd name="T9" fmla="*/ 0 h 169"/>
                  <a:gd name="T10" fmla="*/ 119 w 119"/>
                  <a:gd name="T11" fmla="*/ 0 h 16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9"/>
                  <a:gd name="T19" fmla="*/ 0 h 169"/>
                  <a:gd name="T20" fmla="*/ 119 w 119"/>
                  <a:gd name="T21" fmla="*/ 169 h 16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9" h="169">
                    <a:moveTo>
                      <a:pt x="119" y="0"/>
                    </a:moveTo>
                    <a:lnTo>
                      <a:pt x="69" y="169"/>
                    </a:lnTo>
                    <a:lnTo>
                      <a:pt x="0" y="95"/>
                    </a:lnTo>
                    <a:lnTo>
                      <a:pt x="35" y="19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" name="Freeform 448"/>
              <p:cNvSpPr>
                <a:spLocks/>
              </p:cNvSpPr>
              <p:nvPr/>
            </p:nvSpPr>
            <p:spPr bwMode="auto">
              <a:xfrm>
                <a:off x="4973" y="1710"/>
                <a:ext cx="69" cy="172"/>
              </a:xfrm>
              <a:custGeom>
                <a:avLst/>
                <a:gdLst>
                  <a:gd name="T0" fmla="*/ 0 w 207"/>
                  <a:gd name="T1" fmla="*/ 475 h 517"/>
                  <a:gd name="T2" fmla="*/ 138 w 207"/>
                  <a:gd name="T3" fmla="*/ 219 h 517"/>
                  <a:gd name="T4" fmla="*/ 134 w 207"/>
                  <a:gd name="T5" fmla="*/ 0 h 517"/>
                  <a:gd name="T6" fmla="*/ 207 w 207"/>
                  <a:gd name="T7" fmla="*/ 134 h 517"/>
                  <a:gd name="T8" fmla="*/ 203 w 207"/>
                  <a:gd name="T9" fmla="*/ 471 h 517"/>
                  <a:gd name="T10" fmla="*/ 88 w 207"/>
                  <a:gd name="T11" fmla="*/ 517 h 517"/>
                  <a:gd name="T12" fmla="*/ 0 w 207"/>
                  <a:gd name="T13" fmla="*/ 475 h 517"/>
                  <a:gd name="T14" fmla="*/ 0 w 207"/>
                  <a:gd name="T15" fmla="*/ 475 h 5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7"/>
                  <a:gd name="T25" fmla="*/ 0 h 517"/>
                  <a:gd name="T26" fmla="*/ 207 w 207"/>
                  <a:gd name="T27" fmla="*/ 517 h 5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7" h="517">
                    <a:moveTo>
                      <a:pt x="0" y="475"/>
                    </a:moveTo>
                    <a:lnTo>
                      <a:pt x="138" y="219"/>
                    </a:lnTo>
                    <a:lnTo>
                      <a:pt x="134" y="0"/>
                    </a:lnTo>
                    <a:lnTo>
                      <a:pt x="207" y="134"/>
                    </a:lnTo>
                    <a:lnTo>
                      <a:pt x="203" y="471"/>
                    </a:lnTo>
                    <a:lnTo>
                      <a:pt x="88" y="517"/>
                    </a:lnTo>
                    <a:lnTo>
                      <a:pt x="0" y="475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" name="Freeform 449"/>
              <p:cNvSpPr>
                <a:spLocks/>
              </p:cNvSpPr>
              <p:nvPr/>
            </p:nvSpPr>
            <p:spPr bwMode="auto">
              <a:xfrm>
                <a:off x="4688" y="1988"/>
                <a:ext cx="51" cy="44"/>
              </a:xfrm>
              <a:custGeom>
                <a:avLst/>
                <a:gdLst>
                  <a:gd name="T0" fmla="*/ 0 w 153"/>
                  <a:gd name="T1" fmla="*/ 30 h 133"/>
                  <a:gd name="T2" fmla="*/ 44 w 153"/>
                  <a:gd name="T3" fmla="*/ 133 h 133"/>
                  <a:gd name="T4" fmla="*/ 153 w 153"/>
                  <a:gd name="T5" fmla="*/ 99 h 133"/>
                  <a:gd name="T6" fmla="*/ 138 w 153"/>
                  <a:gd name="T7" fmla="*/ 0 h 133"/>
                  <a:gd name="T8" fmla="*/ 0 w 153"/>
                  <a:gd name="T9" fmla="*/ 30 h 133"/>
                  <a:gd name="T10" fmla="*/ 0 w 153"/>
                  <a:gd name="T11" fmla="*/ 30 h 1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3"/>
                  <a:gd name="T19" fmla="*/ 0 h 133"/>
                  <a:gd name="T20" fmla="*/ 153 w 153"/>
                  <a:gd name="T21" fmla="*/ 133 h 1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3" h="133">
                    <a:moveTo>
                      <a:pt x="0" y="30"/>
                    </a:moveTo>
                    <a:lnTo>
                      <a:pt x="44" y="133"/>
                    </a:lnTo>
                    <a:lnTo>
                      <a:pt x="153" y="99"/>
                    </a:lnTo>
                    <a:lnTo>
                      <a:pt x="138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E0847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Freeform 450"/>
              <p:cNvSpPr>
                <a:spLocks/>
              </p:cNvSpPr>
              <p:nvPr/>
            </p:nvSpPr>
            <p:spPr bwMode="auto">
              <a:xfrm>
                <a:off x="4725" y="1968"/>
                <a:ext cx="52" cy="57"/>
              </a:xfrm>
              <a:custGeom>
                <a:avLst/>
                <a:gdLst>
                  <a:gd name="T0" fmla="*/ 0 w 158"/>
                  <a:gd name="T1" fmla="*/ 54 h 173"/>
                  <a:gd name="T2" fmla="*/ 44 w 158"/>
                  <a:gd name="T3" fmla="*/ 173 h 173"/>
                  <a:gd name="T4" fmla="*/ 158 w 158"/>
                  <a:gd name="T5" fmla="*/ 124 h 173"/>
                  <a:gd name="T6" fmla="*/ 139 w 158"/>
                  <a:gd name="T7" fmla="*/ 0 h 173"/>
                  <a:gd name="T8" fmla="*/ 0 w 158"/>
                  <a:gd name="T9" fmla="*/ 54 h 173"/>
                  <a:gd name="T10" fmla="*/ 0 w 158"/>
                  <a:gd name="T11" fmla="*/ 54 h 1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8"/>
                  <a:gd name="T19" fmla="*/ 0 h 173"/>
                  <a:gd name="T20" fmla="*/ 158 w 158"/>
                  <a:gd name="T21" fmla="*/ 173 h 1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8" h="173">
                    <a:moveTo>
                      <a:pt x="0" y="54"/>
                    </a:moveTo>
                    <a:lnTo>
                      <a:pt x="44" y="173"/>
                    </a:lnTo>
                    <a:lnTo>
                      <a:pt x="158" y="124"/>
                    </a:lnTo>
                    <a:lnTo>
                      <a:pt x="139" y="0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00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" name="Freeform 451"/>
              <p:cNvSpPr>
                <a:spLocks/>
              </p:cNvSpPr>
              <p:nvPr/>
            </p:nvSpPr>
            <p:spPr bwMode="auto">
              <a:xfrm>
                <a:off x="5035" y="1875"/>
                <a:ext cx="230" cy="58"/>
              </a:xfrm>
              <a:custGeom>
                <a:avLst/>
                <a:gdLst>
                  <a:gd name="T0" fmla="*/ 0 w 689"/>
                  <a:gd name="T1" fmla="*/ 40 h 174"/>
                  <a:gd name="T2" fmla="*/ 118 w 689"/>
                  <a:gd name="T3" fmla="*/ 174 h 174"/>
                  <a:gd name="T4" fmla="*/ 689 w 689"/>
                  <a:gd name="T5" fmla="*/ 0 h 174"/>
                  <a:gd name="T6" fmla="*/ 0 w 689"/>
                  <a:gd name="T7" fmla="*/ 40 h 174"/>
                  <a:gd name="T8" fmla="*/ 0 w 689"/>
                  <a:gd name="T9" fmla="*/ 40 h 1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89"/>
                  <a:gd name="T16" fmla="*/ 0 h 174"/>
                  <a:gd name="T17" fmla="*/ 689 w 689"/>
                  <a:gd name="T18" fmla="*/ 174 h 1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89" h="174">
                    <a:moveTo>
                      <a:pt x="0" y="40"/>
                    </a:moveTo>
                    <a:lnTo>
                      <a:pt x="118" y="174"/>
                    </a:lnTo>
                    <a:lnTo>
                      <a:pt x="689" y="0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6D99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Freeform 452"/>
              <p:cNvSpPr>
                <a:spLocks/>
              </p:cNvSpPr>
              <p:nvPr/>
            </p:nvSpPr>
            <p:spPr bwMode="auto">
              <a:xfrm>
                <a:off x="4769" y="1910"/>
                <a:ext cx="263" cy="104"/>
              </a:xfrm>
              <a:custGeom>
                <a:avLst/>
                <a:gdLst>
                  <a:gd name="T0" fmla="*/ 0 w 788"/>
                  <a:gd name="T1" fmla="*/ 198 h 312"/>
                  <a:gd name="T2" fmla="*/ 5 w 788"/>
                  <a:gd name="T3" fmla="*/ 312 h 312"/>
                  <a:gd name="T4" fmla="*/ 788 w 788"/>
                  <a:gd name="T5" fmla="*/ 109 h 312"/>
                  <a:gd name="T6" fmla="*/ 599 w 788"/>
                  <a:gd name="T7" fmla="*/ 0 h 312"/>
                  <a:gd name="T8" fmla="*/ 0 w 788"/>
                  <a:gd name="T9" fmla="*/ 198 h 312"/>
                  <a:gd name="T10" fmla="*/ 0 w 788"/>
                  <a:gd name="T11" fmla="*/ 198 h 3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88"/>
                  <a:gd name="T19" fmla="*/ 0 h 312"/>
                  <a:gd name="T20" fmla="*/ 788 w 788"/>
                  <a:gd name="T21" fmla="*/ 312 h 3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88" h="312">
                    <a:moveTo>
                      <a:pt x="0" y="198"/>
                    </a:moveTo>
                    <a:lnTo>
                      <a:pt x="5" y="312"/>
                    </a:lnTo>
                    <a:lnTo>
                      <a:pt x="788" y="109"/>
                    </a:lnTo>
                    <a:lnTo>
                      <a:pt x="599" y="0"/>
                    </a:lnTo>
                    <a:lnTo>
                      <a:pt x="0" y="198"/>
                    </a:lnTo>
                    <a:close/>
                  </a:path>
                </a:pathLst>
              </a:custGeom>
              <a:solidFill>
                <a:srgbClr val="6D99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" name="Freeform 453"/>
              <p:cNvSpPr>
                <a:spLocks/>
              </p:cNvSpPr>
              <p:nvPr/>
            </p:nvSpPr>
            <p:spPr bwMode="auto">
              <a:xfrm>
                <a:off x="5040" y="1786"/>
                <a:ext cx="205" cy="43"/>
              </a:xfrm>
              <a:custGeom>
                <a:avLst/>
                <a:gdLst>
                  <a:gd name="T0" fmla="*/ 10 w 615"/>
                  <a:gd name="T1" fmla="*/ 4 h 128"/>
                  <a:gd name="T2" fmla="*/ 615 w 615"/>
                  <a:gd name="T3" fmla="*/ 0 h 128"/>
                  <a:gd name="T4" fmla="*/ 0 w 615"/>
                  <a:gd name="T5" fmla="*/ 128 h 128"/>
                  <a:gd name="T6" fmla="*/ 10 w 615"/>
                  <a:gd name="T7" fmla="*/ 4 h 128"/>
                  <a:gd name="T8" fmla="*/ 10 w 615"/>
                  <a:gd name="T9" fmla="*/ 4 h 1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5"/>
                  <a:gd name="T16" fmla="*/ 0 h 128"/>
                  <a:gd name="T17" fmla="*/ 615 w 615"/>
                  <a:gd name="T18" fmla="*/ 128 h 1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5" h="128">
                    <a:moveTo>
                      <a:pt x="10" y="4"/>
                    </a:moveTo>
                    <a:lnTo>
                      <a:pt x="615" y="0"/>
                    </a:lnTo>
                    <a:lnTo>
                      <a:pt x="0" y="128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FFFF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Freeform 454"/>
              <p:cNvSpPr>
                <a:spLocks/>
              </p:cNvSpPr>
              <p:nvPr/>
            </p:nvSpPr>
            <p:spPr bwMode="auto">
              <a:xfrm>
                <a:off x="4849" y="1783"/>
                <a:ext cx="166" cy="52"/>
              </a:xfrm>
              <a:custGeom>
                <a:avLst/>
                <a:gdLst>
                  <a:gd name="T0" fmla="*/ 0 w 500"/>
                  <a:gd name="T1" fmla="*/ 19 h 158"/>
                  <a:gd name="T2" fmla="*/ 500 w 500"/>
                  <a:gd name="T3" fmla="*/ 0 h 158"/>
                  <a:gd name="T4" fmla="*/ 437 w 500"/>
                  <a:gd name="T5" fmla="*/ 158 h 158"/>
                  <a:gd name="T6" fmla="*/ 178 w 500"/>
                  <a:gd name="T7" fmla="*/ 138 h 158"/>
                  <a:gd name="T8" fmla="*/ 0 w 500"/>
                  <a:gd name="T9" fmla="*/ 19 h 158"/>
                  <a:gd name="T10" fmla="*/ 0 w 500"/>
                  <a:gd name="T11" fmla="*/ 19 h 1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00"/>
                  <a:gd name="T19" fmla="*/ 0 h 158"/>
                  <a:gd name="T20" fmla="*/ 500 w 500"/>
                  <a:gd name="T21" fmla="*/ 158 h 1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00" h="158">
                    <a:moveTo>
                      <a:pt x="0" y="19"/>
                    </a:moveTo>
                    <a:lnTo>
                      <a:pt x="500" y="0"/>
                    </a:lnTo>
                    <a:lnTo>
                      <a:pt x="437" y="158"/>
                    </a:lnTo>
                    <a:lnTo>
                      <a:pt x="178" y="138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" name="Freeform 455"/>
              <p:cNvSpPr>
                <a:spLocks/>
              </p:cNvSpPr>
              <p:nvPr/>
            </p:nvSpPr>
            <p:spPr bwMode="auto">
              <a:xfrm>
                <a:off x="4753" y="1743"/>
                <a:ext cx="441" cy="278"/>
              </a:xfrm>
              <a:custGeom>
                <a:avLst/>
                <a:gdLst>
                  <a:gd name="T0" fmla="*/ 0 w 1323"/>
                  <a:gd name="T1" fmla="*/ 94 h 834"/>
                  <a:gd name="T2" fmla="*/ 5 w 1323"/>
                  <a:gd name="T3" fmla="*/ 263 h 834"/>
                  <a:gd name="T4" fmla="*/ 89 w 1323"/>
                  <a:gd name="T5" fmla="*/ 307 h 834"/>
                  <a:gd name="T6" fmla="*/ 238 w 1323"/>
                  <a:gd name="T7" fmla="*/ 278 h 834"/>
                  <a:gd name="T8" fmla="*/ 1323 w 1323"/>
                  <a:gd name="T9" fmla="*/ 834 h 834"/>
                  <a:gd name="T10" fmla="*/ 1285 w 1323"/>
                  <a:gd name="T11" fmla="*/ 759 h 834"/>
                  <a:gd name="T12" fmla="*/ 254 w 1323"/>
                  <a:gd name="T13" fmla="*/ 124 h 834"/>
                  <a:gd name="T14" fmla="*/ 227 w 1323"/>
                  <a:gd name="T15" fmla="*/ 35 h 834"/>
                  <a:gd name="T16" fmla="*/ 135 w 1323"/>
                  <a:gd name="T17" fmla="*/ 0 h 834"/>
                  <a:gd name="T18" fmla="*/ 36 w 1323"/>
                  <a:gd name="T19" fmla="*/ 40 h 834"/>
                  <a:gd name="T20" fmla="*/ 0 w 1323"/>
                  <a:gd name="T21" fmla="*/ 94 h 834"/>
                  <a:gd name="T22" fmla="*/ 0 w 1323"/>
                  <a:gd name="T23" fmla="*/ 94 h 83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23"/>
                  <a:gd name="T37" fmla="*/ 0 h 834"/>
                  <a:gd name="T38" fmla="*/ 1323 w 1323"/>
                  <a:gd name="T39" fmla="*/ 834 h 83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23" h="834">
                    <a:moveTo>
                      <a:pt x="0" y="94"/>
                    </a:moveTo>
                    <a:lnTo>
                      <a:pt x="5" y="263"/>
                    </a:lnTo>
                    <a:lnTo>
                      <a:pt x="89" y="307"/>
                    </a:lnTo>
                    <a:lnTo>
                      <a:pt x="238" y="278"/>
                    </a:lnTo>
                    <a:lnTo>
                      <a:pt x="1323" y="834"/>
                    </a:lnTo>
                    <a:lnTo>
                      <a:pt x="1285" y="759"/>
                    </a:lnTo>
                    <a:lnTo>
                      <a:pt x="254" y="124"/>
                    </a:lnTo>
                    <a:lnTo>
                      <a:pt x="227" y="35"/>
                    </a:lnTo>
                    <a:lnTo>
                      <a:pt x="135" y="0"/>
                    </a:lnTo>
                    <a:lnTo>
                      <a:pt x="36" y="40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" name="Freeform 456"/>
              <p:cNvSpPr>
                <a:spLocks/>
              </p:cNvSpPr>
              <p:nvPr/>
            </p:nvSpPr>
            <p:spPr bwMode="auto">
              <a:xfrm>
                <a:off x="5037" y="1799"/>
                <a:ext cx="238" cy="79"/>
              </a:xfrm>
              <a:custGeom>
                <a:avLst/>
                <a:gdLst>
                  <a:gd name="T0" fmla="*/ 31 w 714"/>
                  <a:gd name="T1" fmla="*/ 63 h 237"/>
                  <a:gd name="T2" fmla="*/ 594 w 714"/>
                  <a:gd name="T3" fmla="*/ 0 h 237"/>
                  <a:gd name="T4" fmla="*/ 714 w 714"/>
                  <a:gd name="T5" fmla="*/ 202 h 237"/>
                  <a:gd name="T6" fmla="*/ 585 w 714"/>
                  <a:gd name="T7" fmla="*/ 237 h 237"/>
                  <a:gd name="T8" fmla="*/ 0 w 714"/>
                  <a:gd name="T9" fmla="*/ 227 h 237"/>
                  <a:gd name="T10" fmla="*/ 31 w 714"/>
                  <a:gd name="T11" fmla="*/ 63 h 237"/>
                  <a:gd name="T12" fmla="*/ 31 w 714"/>
                  <a:gd name="T13" fmla="*/ 63 h 2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14"/>
                  <a:gd name="T22" fmla="*/ 0 h 237"/>
                  <a:gd name="T23" fmla="*/ 714 w 714"/>
                  <a:gd name="T24" fmla="*/ 237 h 2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14" h="237">
                    <a:moveTo>
                      <a:pt x="31" y="63"/>
                    </a:moveTo>
                    <a:lnTo>
                      <a:pt x="594" y="0"/>
                    </a:lnTo>
                    <a:lnTo>
                      <a:pt x="714" y="202"/>
                    </a:lnTo>
                    <a:lnTo>
                      <a:pt x="585" y="237"/>
                    </a:lnTo>
                    <a:lnTo>
                      <a:pt x="0" y="227"/>
                    </a:lnTo>
                    <a:lnTo>
                      <a:pt x="31" y="63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" name="Freeform 457"/>
              <p:cNvSpPr>
                <a:spLocks/>
              </p:cNvSpPr>
              <p:nvPr/>
            </p:nvSpPr>
            <p:spPr bwMode="auto">
              <a:xfrm>
                <a:off x="5055" y="1678"/>
                <a:ext cx="191" cy="111"/>
              </a:xfrm>
              <a:custGeom>
                <a:avLst/>
                <a:gdLst>
                  <a:gd name="T0" fmla="*/ 6 w 573"/>
                  <a:gd name="T1" fmla="*/ 252 h 332"/>
                  <a:gd name="T2" fmla="*/ 218 w 573"/>
                  <a:gd name="T3" fmla="*/ 0 h 332"/>
                  <a:gd name="T4" fmla="*/ 573 w 573"/>
                  <a:gd name="T5" fmla="*/ 325 h 332"/>
                  <a:gd name="T6" fmla="*/ 10 w 573"/>
                  <a:gd name="T7" fmla="*/ 332 h 332"/>
                  <a:gd name="T8" fmla="*/ 0 w 573"/>
                  <a:gd name="T9" fmla="*/ 277 h 332"/>
                  <a:gd name="T10" fmla="*/ 6 w 573"/>
                  <a:gd name="T11" fmla="*/ 252 h 332"/>
                  <a:gd name="T12" fmla="*/ 6 w 573"/>
                  <a:gd name="T13" fmla="*/ 252 h 3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3"/>
                  <a:gd name="T22" fmla="*/ 0 h 332"/>
                  <a:gd name="T23" fmla="*/ 573 w 573"/>
                  <a:gd name="T24" fmla="*/ 332 h 3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3" h="332">
                    <a:moveTo>
                      <a:pt x="6" y="252"/>
                    </a:moveTo>
                    <a:lnTo>
                      <a:pt x="218" y="0"/>
                    </a:lnTo>
                    <a:lnTo>
                      <a:pt x="573" y="325"/>
                    </a:lnTo>
                    <a:lnTo>
                      <a:pt x="10" y="332"/>
                    </a:lnTo>
                    <a:lnTo>
                      <a:pt x="0" y="277"/>
                    </a:lnTo>
                    <a:lnTo>
                      <a:pt x="6" y="252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Freeform 458"/>
              <p:cNvSpPr>
                <a:spLocks/>
              </p:cNvSpPr>
              <p:nvPr/>
            </p:nvSpPr>
            <p:spPr bwMode="auto">
              <a:xfrm>
                <a:off x="4921" y="1695"/>
                <a:ext cx="98" cy="91"/>
              </a:xfrm>
              <a:custGeom>
                <a:avLst/>
                <a:gdLst>
                  <a:gd name="T0" fmla="*/ 0 w 292"/>
                  <a:gd name="T1" fmla="*/ 242 h 273"/>
                  <a:gd name="T2" fmla="*/ 277 w 292"/>
                  <a:gd name="T3" fmla="*/ 0 h 273"/>
                  <a:gd name="T4" fmla="*/ 292 w 292"/>
                  <a:gd name="T5" fmla="*/ 173 h 273"/>
                  <a:gd name="T6" fmla="*/ 273 w 292"/>
                  <a:gd name="T7" fmla="*/ 273 h 273"/>
                  <a:gd name="T8" fmla="*/ 0 w 292"/>
                  <a:gd name="T9" fmla="*/ 242 h 273"/>
                  <a:gd name="T10" fmla="*/ 0 w 292"/>
                  <a:gd name="T11" fmla="*/ 242 h 2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2"/>
                  <a:gd name="T19" fmla="*/ 0 h 273"/>
                  <a:gd name="T20" fmla="*/ 292 w 292"/>
                  <a:gd name="T21" fmla="*/ 273 h 2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2" h="273">
                    <a:moveTo>
                      <a:pt x="0" y="242"/>
                    </a:moveTo>
                    <a:lnTo>
                      <a:pt x="277" y="0"/>
                    </a:lnTo>
                    <a:lnTo>
                      <a:pt x="292" y="173"/>
                    </a:lnTo>
                    <a:lnTo>
                      <a:pt x="273" y="273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" name="Freeform 459"/>
              <p:cNvSpPr>
                <a:spLocks/>
              </p:cNvSpPr>
              <p:nvPr/>
            </p:nvSpPr>
            <p:spPr bwMode="auto">
              <a:xfrm>
                <a:off x="4794" y="1865"/>
                <a:ext cx="177" cy="88"/>
              </a:xfrm>
              <a:custGeom>
                <a:avLst/>
                <a:gdLst>
                  <a:gd name="T0" fmla="*/ 198 w 531"/>
                  <a:gd name="T1" fmla="*/ 0 h 263"/>
                  <a:gd name="T2" fmla="*/ 531 w 531"/>
                  <a:gd name="T3" fmla="*/ 125 h 263"/>
                  <a:gd name="T4" fmla="*/ 302 w 531"/>
                  <a:gd name="T5" fmla="*/ 224 h 263"/>
                  <a:gd name="T6" fmla="*/ 0 w 531"/>
                  <a:gd name="T7" fmla="*/ 263 h 263"/>
                  <a:gd name="T8" fmla="*/ 198 w 531"/>
                  <a:gd name="T9" fmla="*/ 0 h 263"/>
                  <a:gd name="T10" fmla="*/ 198 w 531"/>
                  <a:gd name="T11" fmla="*/ 0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1"/>
                  <a:gd name="T19" fmla="*/ 0 h 263"/>
                  <a:gd name="T20" fmla="*/ 531 w 531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1" h="263">
                    <a:moveTo>
                      <a:pt x="198" y="0"/>
                    </a:moveTo>
                    <a:lnTo>
                      <a:pt x="531" y="125"/>
                    </a:lnTo>
                    <a:lnTo>
                      <a:pt x="302" y="224"/>
                    </a:lnTo>
                    <a:lnTo>
                      <a:pt x="0" y="263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Freeform 460"/>
              <p:cNvSpPr>
                <a:spLocks/>
              </p:cNvSpPr>
              <p:nvPr/>
            </p:nvSpPr>
            <p:spPr bwMode="auto">
              <a:xfrm>
                <a:off x="5012" y="1536"/>
                <a:ext cx="371" cy="452"/>
              </a:xfrm>
              <a:custGeom>
                <a:avLst/>
                <a:gdLst>
                  <a:gd name="T0" fmla="*/ 218 w 1111"/>
                  <a:gd name="T1" fmla="*/ 1191 h 1355"/>
                  <a:gd name="T2" fmla="*/ 804 w 1111"/>
                  <a:gd name="T3" fmla="*/ 983 h 1355"/>
                  <a:gd name="T4" fmla="*/ 431 w 1111"/>
                  <a:gd name="T5" fmla="*/ 382 h 1355"/>
                  <a:gd name="T6" fmla="*/ 143 w 1111"/>
                  <a:gd name="T7" fmla="*/ 650 h 1355"/>
                  <a:gd name="T8" fmla="*/ 74 w 1111"/>
                  <a:gd name="T9" fmla="*/ 620 h 1355"/>
                  <a:gd name="T10" fmla="*/ 0 w 1111"/>
                  <a:gd name="T11" fmla="*/ 481 h 1355"/>
                  <a:gd name="T12" fmla="*/ 521 w 1111"/>
                  <a:gd name="T13" fmla="*/ 0 h 1355"/>
                  <a:gd name="T14" fmla="*/ 1111 w 1111"/>
                  <a:gd name="T15" fmla="*/ 1107 h 1355"/>
                  <a:gd name="T16" fmla="*/ 466 w 1111"/>
                  <a:gd name="T17" fmla="*/ 1355 h 1355"/>
                  <a:gd name="T18" fmla="*/ 218 w 1111"/>
                  <a:gd name="T19" fmla="*/ 1191 h 1355"/>
                  <a:gd name="T20" fmla="*/ 218 w 1111"/>
                  <a:gd name="T21" fmla="*/ 1191 h 13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11"/>
                  <a:gd name="T34" fmla="*/ 0 h 1355"/>
                  <a:gd name="T35" fmla="*/ 1111 w 1111"/>
                  <a:gd name="T36" fmla="*/ 1355 h 135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11" h="1355">
                    <a:moveTo>
                      <a:pt x="218" y="1191"/>
                    </a:moveTo>
                    <a:lnTo>
                      <a:pt x="804" y="983"/>
                    </a:lnTo>
                    <a:lnTo>
                      <a:pt x="431" y="382"/>
                    </a:lnTo>
                    <a:lnTo>
                      <a:pt x="143" y="650"/>
                    </a:lnTo>
                    <a:lnTo>
                      <a:pt x="74" y="620"/>
                    </a:lnTo>
                    <a:lnTo>
                      <a:pt x="0" y="481"/>
                    </a:lnTo>
                    <a:lnTo>
                      <a:pt x="521" y="0"/>
                    </a:lnTo>
                    <a:lnTo>
                      <a:pt x="1111" y="1107"/>
                    </a:lnTo>
                    <a:lnTo>
                      <a:pt x="466" y="1355"/>
                    </a:lnTo>
                    <a:lnTo>
                      <a:pt x="218" y="1191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" name="Freeform 461"/>
              <p:cNvSpPr>
                <a:spLocks/>
              </p:cNvSpPr>
              <p:nvPr/>
            </p:nvSpPr>
            <p:spPr bwMode="auto">
              <a:xfrm>
                <a:off x="4674" y="1946"/>
                <a:ext cx="457" cy="192"/>
              </a:xfrm>
              <a:custGeom>
                <a:avLst/>
                <a:gdLst>
                  <a:gd name="T0" fmla="*/ 223 w 1373"/>
                  <a:gd name="T1" fmla="*/ 223 h 576"/>
                  <a:gd name="T2" fmla="*/ 604 w 1373"/>
                  <a:gd name="T3" fmla="*/ 124 h 576"/>
                  <a:gd name="T4" fmla="*/ 535 w 1373"/>
                  <a:gd name="T5" fmla="*/ 228 h 576"/>
                  <a:gd name="T6" fmla="*/ 1081 w 1373"/>
                  <a:gd name="T7" fmla="*/ 0 h 576"/>
                  <a:gd name="T8" fmla="*/ 1373 w 1373"/>
                  <a:gd name="T9" fmla="*/ 158 h 576"/>
                  <a:gd name="T10" fmla="*/ 0 w 1373"/>
                  <a:gd name="T11" fmla="*/ 576 h 576"/>
                  <a:gd name="T12" fmla="*/ 223 w 1373"/>
                  <a:gd name="T13" fmla="*/ 223 h 576"/>
                  <a:gd name="T14" fmla="*/ 223 w 1373"/>
                  <a:gd name="T15" fmla="*/ 223 h 5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73"/>
                  <a:gd name="T25" fmla="*/ 0 h 576"/>
                  <a:gd name="T26" fmla="*/ 1373 w 1373"/>
                  <a:gd name="T27" fmla="*/ 576 h 57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73" h="576">
                    <a:moveTo>
                      <a:pt x="223" y="223"/>
                    </a:moveTo>
                    <a:lnTo>
                      <a:pt x="604" y="124"/>
                    </a:lnTo>
                    <a:lnTo>
                      <a:pt x="535" y="228"/>
                    </a:lnTo>
                    <a:lnTo>
                      <a:pt x="1081" y="0"/>
                    </a:lnTo>
                    <a:lnTo>
                      <a:pt x="1373" y="158"/>
                    </a:lnTo>
                    <a:lnTo>
                      <a:pt x="0" y="576"/>
                    </a:lnTo>
                    <a:lnTo>
                      <a:pt x="223" y="223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" name="Freeform 462"/>
              <p:cNvSpPr>
                <a:spLocks/>
              </p:cNvSpPr>
              <p:nvPr/>
            </p:nvSpPr>
            <p:spPr bwMode="auto">
              <a:xfrm>
                <a:off x="4830" y="2168"/>
                <a:ext cx="80" cy="69"/>
              </a:xfrm>
              <a:custGeom>
                <a:avLst/>
                <a:gdLst>
                  <a:gd name="T0" fmla="*/ 0 w 238"/>
                  <a:gd name="T1" fmla="*/ 70 h 208"/>
                  <a:gd name="T2" fmla="*/ 154 w 238"/>
                  <a:gd name="T3" fmla="*/ 0 h 208"/>
                  <a:gd name="T4" fmla="*/ 238 w 238"/>
                  <a:gd name="T5" fmla="*/ 154 h 208"/>
                  <a:gd name="T6" fmla="*/ 120 w 238"/>
                  <a:gd name="T7" fmla="*/ 208 h 208"/>
                  <a:gd name="T8" fmla="*/ 84 w 238"/>
                  <a:gd name="T9" fmla="*/ 89 h 208"/>
                  <a:gd name="T10" fmla="*/ 0 w 238"/>
                  <a:gd name="T11" fmla="*/ 70 h 208"/>
                  <a:gd name="T12" fmla="*/ 0 w 238"/>
                  <a:gd name="T13" fmla="*/ 70 h 2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8"/>
                  <a:gd name="T22" fmla="*/ 0 h 208"/>
                  <a:gd name="T23" fmla="*/ 238 w 238"/>
                  <a:gd name="T24" fmla="*/ 208 h 20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8" h="208">
                    <a:moveTo>
                      <a:pt x="0" y="70"/>
                    </a:moveTo>
                    <a:lnTo>
                      <a:pt x="154" y="0"/>
                    </a:lnTo>
                    <a:lnTo>
                      <a:pt x="238" y="154"/>
                    </a:lnTo>
                    <a:lnTo>
                      <a:pt x="120" y="208"/>
                    </a:lnTo>
                    <a:lnTo>
                      <a:pt x="84" y="89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FFF2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Freeform 463"/>
              <p:cNvSpPr>
                <a:spLocks/>
              </p:cNvSpPr>
              <p:nvPr/>
            </p:nvSpPr>
            <p:spPr bwMode="auto">
              <a:xfrm>
                <a:off x="4802" y="2197"/>
                <a:ext cx="100" cy="90"/>
              </a:xfrm>
              <a:custGeom>
                <a:avLst/>
                <a:gdLst>
                  <a:gd name="T0" fmla="*/ 139 w 298"/>
                  <a:gd name="T1" fmla="*/ 95 h 269"/>
                  <a:gd name="T2" fmla="*/ 298 w 298"/>
                  <a:gd name="T3" fmla="*/ 100 h 269"/>
                  <a:gd name="T4" fmla="*/ 244 w 298"/>
                  <a:gd name="T5" fmla="*/ 233 h 269"/>
                  <a:gd name="T6" fmla="*/ 124 w 298"/>
                  <a:gd name="T7" fmla="*/ 269 h 269"/>
                  <a:gd name="T8" fmla="*/ 19 w 298"/>
                  <a:gd name="T9" fmla="*/ 204 h 269"/>
                  <a:gd name="T10" fmla="*/ 0 w 298"/>
                  <a:gd name="T11" fmla="*/ 86 h 269"/>
                  <a:gd name="T12" fmla="*/ 59 w 298"/>
                  <a:gd name="T13" fmla="*/ 0 h 269"/>
                  <a:gd name="T14" fmla="*/ 173 w 298"/>
                  <a:gd name="T15" fmla="*/ 15 h 269"/>
                  <a:gd name="T16" fmla="*/ 139 w 298"/>
                  <a:gd name="T17" fmla="*/ 95 h 269"/>
                  <a:gd name="T18" fmla="*/ 139 w 298"/>
                  <a:gd name="T19" fmla="*/ 95 h 26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8"/>
                  <a:gd name="T31" fmla="*/ 0 h 269"/>
                  <a:gd name="T32" fmla="*/ 298 w 298"/>
                  <a:gd name="T33" fmla="*/ 269 h 26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8" h="269">
                    <a:moveTo>
                      <a:pt x="139" y="95"/>
                    </a:moveTo>
                    <a:lnTo>
                      <a:pt x="298" y="100"/>
                    </a:lnTo>
                    <a:lnTo>
                      <a:pt x="244" y="233"/>
                    </a:lnTo>
                    <a:lnTo>
                      <a:pt x="124" y="269"/>
                    </a:lnTo>
                    <a:lnTo>
                      <a:pt x="19" y="204"/>
                    </a:lnTo>
                    <a:lnTo>
                      <a:pt x="0" y="86"/>
                    </a:lnTo>
                    <a:lnTo>
                      <a:pt x="59" y="0"/>
                    </a:lnTo>
                    <a:lnTo>
                      <a:pt x="173" y="15"/>
                    </a:lnTo>
                    <a:lnTo>
                      <a:pt x="139" y="95"/>
                    </a:lnTo>
                    <a:close/>
                  </a:path>
                </a:pathLst>
              </a:custGeom>
              <a:solidFill>
                <a:srgbClr val="E57F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3" name="Freeform 464"/>
              <p:cNvSpPr>
                <a:spLocks/>
              </p:cNvSpPr>
              <p:nvPr/>
            </p:nvSpPr>
            <p:spPr bwMode="auto">
              <a:xfrm>
                <a:off x="4625" y="1693"/>
                <a:ext cx="70" cy="61"/>
              </a:xfrm>
              <a:custGeom>
                <a:avLst/>
                <a:gdLst>
                  <a:gd name="T0" fmla="*/ 90 w 208"/>
                  <a:gd name="T1" fmla="*/ 0 h 184"/>
                  <a:gd name="T2" fmla="*/ 0 w 208"/>
                  <a:gd name="T3" fmla="*/ 50 h 184"/>
                  <a:gd name="T4" fmla="*/ 19 w 208"/>
                  <a:gd name="T5" fmla="*/ 159 h 184"/>
                  <a:gd name="T6" fmla="*/ 95 w 208"/>
                  <a:gd name="T7" fmla="*/ 184 h 184"/>
                  <a:gd name="T8" fmla="*/ 208 w 208"/>
                  <a:gd name="T9" fmla="*/ 144 h 184"/>
                  <a:gd name="T10" fmla="*/ 174 w 208"/>
                  <a:gd name="T11" fmla="*/ 90 h 184"/>
                  <a:gd name="T12" fmla="*/ 90 w 208"/>
                  <a:gd name="T13" fmla="*/ 0 h 184"/>
                  <a:gd name="T14" fmla="*/ 90 w 208"/>
                  <a:gd name="T15" fmla="*/ 0 h 18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8"/>
                  <a:gd name="T25" fmla="*/ 0 h 184"/>
                  <a:gd name="T26" fmla="*/ 208 w 208"/>
                  <a:gd name="T27" fmla="*/ 184 h 18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8" h="184">
                    <a:moveTo>
                      <a:pt x="90" y="0"/>
                    </a:moveTo>
                    <a:lnTo>
                      <a:pt x="0" y="50"/>
                    </a:lnTo>
                    <a:lnTo>
                      <a:pt x="19" y="159"/>
                    </a:lnTo>
                    <a:lnTo>
                      <a:pt x="95" y="184"/>
                    </a:lnTo>
                    <a:lnTo>
                      <a:pt x="208" y="144"/>
                    </a:lnTo>
                    <a:lnTo>
                      <a:pt x="174" y="90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E57F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4" name="Freeform 465"/>
              <p:cNvSpPr>
                <a:spLocks/>
              </p:cNvSpPr>
              <p:nvPr/>
            </p:nvSpPr>
            <p:spPr bwMode="auto">
              <a:xfrm>
                <a:off x="4581" y="1643"/>
                <a:ext cx="456" cy="346"/>
              </a:xfrm>
              <a:custGeom>
                <a:avLst/>
                <a:gdLst>
                  <a:gd name="T0" fmla="*/ 1369 w 1369"/>
                  <a:gd name="T1" fmla="*/ 40 h 1037"/>
                  <a:gd name="T2" fmla="*/ 1022 w 1369"/>
                  <a:gd name="T3" fmla="*/ 432 h 1037"/>
                  <a:gd name="T4" fmla="*/ 774 w 1369"/>
                  <a:gd name="T5" fmla="*/ 422 h 1037"/>
                  <a:gd name="T6" fmla="*/ 749 w 1369"/>
                  <a:gd name="T7" fmla="*/ 353 h 1037"/>
                  <a:gd name="T8" fmla="*/ 670 w 1369"/>
                  <a:gd name="T9" fmla="*/ 304 h 1037"/>
                  <a:gd name="T10" fmla="*/ 541 w 1369"/>
                  <a:gd name="T11" fmla="*/ 338 h 1037"/>
                  <a:gd name="T12" fmla="*/ 437 w 1369"/>
                  <a:gd name="T13" fmla="*/ 353 h 1037"/>
                  <a:gd name="T14" fmla="*/ 481 w 1369"/>
                  <a:gd name="T15" fmla="*/ 477 h 1037"/>
                  <a:gd name="T16" fmla="*/ 546 w 1369"/>
                  <a:gd name="T17" fmla="*/ 576 h 1037"/>
                  <a:gd name="T18" fmla="*/ 655 w 1369"/>
                  <a:gd name="T19" fmla="*/ 615 h 1037"/>
                  <a:gd name="T20" fmla="*/ 783 w 1369"/>
                  <a:gd name="T21" fmla="*/ 586 h 1037"/>
                  <a:gd name="T22" fmla="*/ 859 w 1369"/>
                  <a:gd name="T23" fmla="*/ 630 h 1037"/>
                  <a:gd name="T24" fmla="*/ 506 w 1369"/>
                  <a:gd name="T25" fmla="*/ 1002 h 1037"/>
                  <a:gd name="T26" fmla="*/ 417 w 1369"/>
                  <a:gd name="T27" fmla="*/ 1037 h 1037"/>
                  <a:gd name="T28" fmla="*/ 100 w 1369"/>
                  <a:gd name="T29" fmla="*/ 705 h 1037"/>
                  <a:gd name="T30" fmla="*/ 0 w 1369"/>
                  <a:gd name="T31" fmla="*/ 367 h 1037"/>
                  <a:gd name="T32" fmla="*/ 31 w 1369"/>
                  <a:gd name="T33" fmla="*/ 109 h 1037"/>
                  <a:gd name="T34" fmla="*/ 208 w 1369"/>
                  <a:gd name="T35" fmla="*/ 0 h 1037"/>
                  <a:gd name="T36" fmla="*/ 323 w 1369"/>
                  <a:gd name="T37" fmla="*/ 80 h 1037"/>
                  <a:gd name="T38" fmla="*/ 333 w 1369"/>
                  <a:gd name="T39" fmla="*/ 130 h 1037"/>
                  <a:gd name="T40" fmla="*/ 149 w 1369"/>
                  <a:gd name="T41" fmla="*/ 193 h 1037"/>
                  <a:gd name="T42" fmla="*/ 145 w 1369"/>
                  <a:gd name="T43" fmla="*/ 308 h 1037"/>
                  <a:gd name="T44" fmla="*/ 264 w 1369"/>
                  <a:gd name="T45" fmla="*/ 323 h 1037"/>
                  <a:gd name="T46" fmla="*/ 481 w 1369"/>
                  <a:gd name="T47" fmla="*/ 248 h 1037"/>
                  <a:gd name="T48" fmla="*/ 1018 w 1369"/>
                  <a:gd name="T49" fmla="*/ 80 h 1037"/>
                  <a:gd name="T50" fmla="*/ 1369 w 1369"/>
                  <a:gd name="T51" fmla="*/ 40 h 1037"/>
                  <a:gd name="T52" fmla="*/ 1369 w 1369"/>
                  <a:gd name="T53" fmla="*/ 40 h 103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369"/>
                  <a:gd name="T82" fmla="*/ 0 h 1037"/>
                  <a:gd name="T83" fmla="*/ 1369 w 1369"/>
                  <a:gd name="T84" fmla="*/ 1037 h 103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369" h="1037">
                    <a:moveTo>
                      <a:pt x="1369" y="40"/>
                    </a:moveTo>
                    <a:lnTo>
                      <a:pt x="1022" y="432"/>
                    </a:lnTo>
                    <a:lnTo>
                      <a:pt x="774" y="422"/>
                    </a:lnTo>
                    <a:lnTo>
                      <a:pt x="749" y="353"/>
                    </a:lnTo>
                    <a:lnTo>
                      <a:pt x="670" y="304"/>
                    </a:lnTo>
                    <a:lnTo>
                      <a:pt x="541" y="338"/>
                    </a:lnTo>
                    <a:lnTo>
                      <a:pt x="437" y="353"/>
                    </a:lnTo>
                    <a:lnTo>
                      <a:pt x="481" y="477"/>
                    </a:lnTo>
                    <a:lnTo>
                      <a:pt x="546" y="576"/>
                    </a:lnTo>
                    <a:lnTo>
                      <a:pt x="655" y="615"/>
                    </a:lnTo>
                    <a:lnTo>
                      <a:pt x="783" y="586"/>
                    </a:lnTo>
                    <a:lnTo>
                      <a:pt x="859" y="630"/>
                    </a:lnTo>
                    <a:lnTo>
                      <a:pt x="506" y="1002"/>
                    </a:lnTo>
                    <a:lnTo>
                      <a:pt x="417" y="1037"/>
                    </a:lnTo>
                    <a:lnTo>
                      <a:pt x="100" y="705"/>
                    </a:lnTo>
                    <a:lnTo>
                      <a:pt x="0" y="367"/>
                    </a:lnTo>
                    <a:lnTo>
                      <a:pt x="31" y="109"/>
                    </a:lnTo>
                    <a:lnTo>
                      <a:pt x="208" y="0"/>
                    </a:lnTo>
                    <a:lnTo>
                      <a:pt x="323" y="80"/>
                    </a:lnTo>
                    <a:lnTo>
                      <a:pt x="333" y="130"/>
                    </a:lnTo>
                    <a:lnTo>
                      <a:pt x="149" y="193"/>
                    </a:lnTo>
                    <a:lnTo>
                      <a:pt x="145" y="308"/>
                    </a:lnTo>
                    <a:lnTo>
                      <a:pt x="264" y="323"/>
                    </a:lnTo>
                    <a:lnTo>
                      <a:pt x="481" y="248"/>
                    </a:lnTo>
                    <a:lnTo>
                      <a:pt x="1018" y="80"/>
                    </a:lnTo>
                    <a:lnTo>
                      <a:pt x="1369" y="40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5" name="Freeform 466"/>
              <p:cNvSpPr>
                <a:spLocks/>
              </p:cNvSpPr>
              <p:nvPr/>
            </p:nvSpPr>
            <p:spPr bwMode="auto">
              <a:xfrm>
                <a:off x="4674" y="1534"/>
                <a:ext cx="404" cy="209"/>
              </a:xfrm>
              <a:custGeom>
                <a:avLst/>
                <a:gdLst>
                  <a:gd name="T0" fmla="*/ 0 w 1214"/>
                  <a:gd name="T1" fmla="*/ 335 h 628"/>
                  <a:gd name="T2" fmla="*/ 168 w 1214"/>
                  <a:gd name="T3" fmla="*/ 245 h 628"/>
                  <a:gd name="T4" fmla="*/ 401 w 1214"/>
                  <a:gd name="T5" fmla="*/ 146 h 628"/>
                  <a:gd name="T6" fmla="*/ 1111 w 1214"/>
                  <a:gd name="T7" fmla="*/ 0 h 628"/>
                  <a:gd name="T8" fmla="*/ 1214 w 1214"/>
                  <a:gd name="T9" fmla="*/ 240 h 628"/>
                  <a:gd name="T10" fmla="*/ 991 w 1214"/>
                  <a:gd name="T11" fmla="*/ 385 h 628"/>
                  <a:gd name="T12" fmla="*/ 441 w 1214"/>
                  <a:gd name="T13" fmla="*/ 498 h 628"/>
                  <a:gd name="T14" fmla="*/ 47 w 1214"/>
                  <a:gd name="T15" fmla="*/ 628 h 628"/>
                  <a:gd name="T16" fmla="*/ 59 w 1214"/>
                  <a:gd name="T17" fmla="*/ 438 h 628"/>
                  <a:gd name="T18" fmla="*/ 0 w 1214"/>
                  <a:gd name="T19" fmla="*/ 335 h 628"/>
                  <a:gd name="T20" fmla="*/ 0 w 1214"/>
                  <a:gd name="T21" fmla="*/ 335 h 6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14"/>
                  <a:gd name="T34" fmla="*/ 0 h 628"/>
                  <a:gd name="T35" fmla="*/ 1214 w 1214"/>
                  <a:gd name="T36" fmla="*/ 628 h 6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14" h="628">
                    <a:moveTo>
                      <a:pt x="0" y="335"/>
                    </a:moveTo>
                    <a:lnTo>
                      <a:pt x="168" y="245"/>
                    </a:lnTo>
                    <a:lnTo>
                      <a:pt x="401" y="146"/>
                    </a:lnTo>
                    <a:lnTo>
                      <a:pt x="1111" y="0"/>
                    </a:lnTo>
                    <a:lnTo>
                      <a:pt x="1214" y="240"/>
                    </a:lnTo>
                    <a:lnTo>
                      <a:pt x="991" y="385"/>
                    </a:lnTo>
                    <a:lnTo>
                      <a:pt x="441" y="498"/>
                    </a:lnTo>
                    <a:lnTo>
                      <a:pt x="47" y="628"/>
                    </a:lnTo>
                    <a:lnTo>
                      <a:pt x="59" y="438"/>
                    </a:lnTo>
                    <a:lnTo>
                      <a:pt x="0" y="335"/>
                    </a:lnTo>
                    <a:close/>
                  </a:path>
                </a:pathLst>
              </a:custGeom>
              <a:solidFill>
                <a:srgbClr val="FFA6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6" name="Freeform 467"/>
              <p:cNvSpPr>
                <a:spLocks/>
              </p:cNvSpPr>
              <p:nvPr/>
            </p:nvSpPr>
            <p:spPr bwMode="auto">
              <a:xfrm>
                <a:off x="4797" y="2015"/>
                <a:ext cx="570" cy="280"/>
              </a:xfrm>
              <a:custGeom>
                <a:avLst/>
                <a:gdLst>
                  <a:gd name="T0" fmla="*/ 44 w 1709"/>
                  <a:gd name="T1" fmla="*/ 703 h 840"/>
                  <a:gd name="T2" fmla="*/ 92 w 1709"/>
                  <a:gd name="T3" fmla="*/ 758 h 840"/>
                  <a:gd name="T4" fmla="*/ 220 w 1709"/>
                  <a:gd name="T5" fmla="*/ 766 h 840"/>
                  <a:gd name="T6" fmla="*/ 266 w 1709"/>
                  <a:gd name="T7" fmla="*/ 679 h 840"/>
                  <a:gd name="T8" fmla="*/ 190 w 1709"/>
                  <a:gd name="T9" fmla="*/ 689 h 840"/>
                  <a:gd name="T10" fmla="*/ 106 w 1709"/>
                  <a:gd name="T11" fmla="*/ 636 h 840"/>
                  <a:gd name="T12" fmla="*/ 177 w 1709"/>
                  <a:gd name="T13" fmla="*/ 588 h 840"/>
                  <a:gd name="T14" fmla="*/ 242 w 1709"/>
                  <a:gd name="T15" fmla="*/ 631 h 840"/>
                  <a:gd name="T16" fmla="*/ 300 w 1709"/>
                  <a:gd name="T17" fmla="*/ 572 h 840"/>
                  <a:gd name="T18" fmla="*/ 358 w 1709"/>
                  <a:gd name="T19" fmla="*/ 657 h 840"/>
                  <a:gd name="T20" fmla="*/ 330 w 1709"/>
                  <a:gd name="T21" fmla="*/ 759 h 840"/>
                  <a:gd name="T22" fmla="*/ 688 w 1709"/>
                  <a:gd name="T23" fmla="*/ 703 h 840"/>
                  <a:gd name="T24" fmla="*/ 887 w 1709"/>
                  <a:gd name="T25" fmla="*/ 595 h 840"/>
                  <a:gd name="T26" fmla="*/ 951 w 1709"/>
                  <a:gd name="T27" fmla="*/ 364 h 840"/>
                  <a:gd name="T28" fmla="*/ 919 w 1709"/>
                  <a:gd name="T29" fmla="*/ 244 h 840"/>
                  <a:gd name="T30" fmla="*/ 923 w 1709"/>
                  <a:gd name="T31" fmla="*/ 194 h 840"/>
                  <a:gd name="T32" fmla="*/ 977 w 1709"/>
                  <a:gd name="T33" fmla="*/ 213 h 840"/>
                  <a:gd name="T34" fmla="*/ 988 w 1709"/>
                  <a:gd name="T35" fmla="*/ 241 h 840"/>
                  <a:gd name="T36" fmla="*/ 981 w 1709"/>
                  <a:gd name="T37" fmla="*/ 453 h 840"/>
                  <a:gd name="T38" fmla="*/ 949 w 1709"/>
                  <a:gd name="T39" fmla="*/ 599 h 840"/>
                  <a:gd name="T40" fmla="*/ 1072 w 1709"/>
                  <a:gd name="T41" fmla="*/ 610 h 840"/>
                  <a:gd name="T42" fmla="*/ 1294 w 1709"/>
                  <a:gd name="T43" fmla="*/ 541 h 840"/>
                  <a:gd name="T44" fmla="*/ 1504 w 1709"/>
                  <a:gd name="T45" fmla="*/ 450 h 840"/>
                  <a:gd name="T46" fmla="*/ 1629 w 1709"/>
                  <a:gd name="T47" fmla="*/ 215 h 840"/>
                  <a:gd name="T48" fmla="*/ 1585 w 1709"/>
                  <a:gd name="T49" fmla="*/ 74 h 840"/>
                  <a:gd name="T50" fmla="*/ 1398 w 1709"/>
                  <a:gd name="T51" fmla="*/ 185 h 840"/>
                  <a:gd name="T52" fmla="*/ 1355 w 1709"/>
                  <a:gd name="T53" fmla="*/ 251 h 840"/>
                  <a:gd name="T54" fmla="*/ 1207 w 1709"/>
                  <a:gd name="T55" fmla="*/ 241 h 840"/>
                  <a:gd name="T56" fmla="*/ 1228 w 1709"/>
                  <a:gd name="T57" fmla="*/ 234 h 840"/>
                  <a:gd name="T58" fmla="*/ 1359 w 1709"/>
                  <a:gd name="T59" fmla="*/ 207 h 840"/>
                  <a:gd name="T60" fmla="*/ 1421 w 1709"/>
                  <a:gd name="T61" fmla="*/ 67 h 840"/>
                  <a:gd name="T62" fmla="*/ 1606 w 1709"/>
                  <a:gd name="T63" fmla="*/ 0 h 840"/>
                  <a:gd name="T64" fmla="*/ 1681 w 1709"/>
                  <a:gd name="T65" fmla="*/ 223 h 840"/>
                  <a:gd name="T66" fmla="*/ 1618 w 1709"/>
                  <a:gd name="T67" fmla="*/ 495 h 840"/>
                  <a:gd name="T68" fmla="*/ 1431 w 1709"/>
                  <a:gd name="T69" fmla="*/ 557 h 840"/>
                  <a:gd name="T70" fmla="*/ 1239 w 1709"/>
                  <a:gd name="T71" fmla="*/ 619 h 840"/>
                  <a:gd name="T72" fmla="*/ 1046 w 1709"/>
                  <a:gd name="T73" fmla="*/ 674 h 840"/>
                  <a:gd name="T74" fmla="*/ 852 w 1709"/>
                  <a:gd name="T75" fmla="*/ 725 h 840"/>
                  <a:gd name="T76" fmla="*/ 656 w 1709"/>
                  <a:gd name="T77" fmla="*/ 769 h 840"/>
                  <a:gd name="T78" fmla="*/ 361 w 1709"/>
                  <a:gd name="T79" fmla="*/ 820 h 840"/>
                  <a:gd name="T80" fmla="*/ 70 w 1709"/>
                  <a:gd name="T81" fmla="*/ 807 h 840"/>
                  <a:gd name="T82" fmla="*/ 0 w 1709"/>
                  <a:gd name="T83" fmla="*/ 732 h 84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709"/>
                  <a:gd name="T127" fmla="*/ 0 h 840"/>
                  <a:gd name="T128" fmla="*/ 1709 w 1709"/>
                  <a:gd name="T129" fmla="*/ 840 h 84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709" h="840">
                    <a:moveTo>
                      <a:pt x="0" y="732"/>
                    </a:moveTo>
                    <a:lnTo>
                      <a:pt x="44" y="703"/>
                    </a:lnTo>
                    <a:lnTo>
                      <a:pt x="64" y="734"/>
                    </a:lnTo>
                    <a:lnTo>
                      <a:pt x="92" y="758"/>
                    </a:lnTo>
                    <a:lnTo>
                      <a:pt x="157" y="780"/>
                    </a:lnTo>
                    <a:lnTo>
                      <a:pt x="220" y="766"/>
                    </a:lnTo>
                    <a:lnTo>
                      <a:pt x="267" y="711"/>
                    </a:lnTo>
                    <a:lnTo>
                      <a:pt x="266" y="679"/>
                    </a:lnTo>
                    <a:lnTo>
                      <a:pt x="238" y="672"/>
                    </a:lnTo>
                    <a:lnTo>
                      <a:pt x="190" y="689"/>
                    </a:lnTo>
                    <a:lnTo>
                      <a:pt x="136" y="683"/>
                    </a:lnTo>
                    <a:lnTo>
                      <a:pt x="106" y="636"/>
                    </a:lnTo>
                    <a:lnTo>
                      <a:pt x="128" y="606"/>
                    </a:lnTo>
                    <a:lnTo>
                      <a:pt x="177" y="588"/>
                    </a:lnTo>
                    <a:lnTo>
                      <a:pt x="227" y="579"/>
                    </a:lnTo>
                    <a:lnTo>
                      <a:pt x="242" y="631"/>
                    </a:lnTo>
                    <a:lnTo>
                      <a:pt x="293" y="601"/>
                    </a:lnTo>
                    <a:lnTo>
                      <a:pt x="300" y="572"/>
                    </a:lnTo>
                    <a:lnTo>
                      <a:pt x="337" y="557"/>
                    </a:lnTo>
                    <a:lnTo>
                      <a:pt x="358" y="657"/>
                    </a:lnTo>
                    <a:lnTo>
                      <a:pt x="351" y="708"/>
                    </a:lnTo>
                    <a:lnTo>
                      <a:pt x="330" y="759"/>
                    </a:lnTo>
                    <a:lnTo>
                      <a:pt x="568" y="729"/>
                    </a:lnTo>
                    <a:lnTo>
                      <a:pt x="688" y="703"/>
                    </a:lnTo>
                    <a:lnTo>
                      <a:pt x="807" y="670"/>
                    </a:lnTo>
                    <a:lnTo>
                      <a:pt x="887" y="595"/>
                    </a:lnTo>
                    <a:lnTo>
                      <a:pt x="933" y="515"/>
                    </a:lnTo>
                    <a:lnTo>
                      <a:pt x="951" y="364"/>
                    </a:lnTo>
                    <a:lnTo>
                      <a:pt x="937" y="298"/>
                    </a:lnTo>
                    <a:lnTo>
                      <a:pt x="919" y="244"/>
                    </a:lnTo>
                    <a:lnTo>
                      <a:pt x="896" y="186"/>
                    </a:lnTo>
                    <a:lnTo>
                      <a:pt x="923" y="194"/>
                    </a:lnTo>
                    <a:lnTo>
                      <a:pt x="936" y="219"/>
                    </a:lnTo>
                    <a:lnTo>
                      <a:pt x="977" y="213"/>
                    </a:lnTo>
                    <a:lnTo>
                      <a:pt x="1016" y="216"/>
                    </a:lnTo>
                    <a:lnTo>
                      <a:pt x="988" y="241"/>
                    </a:lnTo>
                    <a:lnTo>
                      <a:pt x="951" y="256"/>
                    </a:lnTo>
                    <a:lnTo>
                      <a:pt x="981" y="453"/>
                    </a:lnTo>
                    <a:lnTo>
                      <a:pt x="967" y="551"/>
                    </a:lnTo>
                    <a:lnTo>
                      <a:pt x="949" y="599"/>
                    </a:lnTo>
                    <a:lnTo>
                      <a:pt x="921" y="645"/>
                    </a:lnTo>
                    <a:lnTo>
                      <a:pt x="1072" y="610"/>
                    </a:lnTo>
                    <a:lnTo>
                      <a:pt x="1180" y="580"/>
                    </a:lnTo>
                    <a:lnTo>
                      <a:pt x="1294" y="541"/>
                    </a:lnTo>
                    <a:lnTo>
                      <a:pt x="1404" y="497"/>
                    </a:lnTo>
                    <a:lnTo>
                      <a:pt x="1504" y="450"/>
                    </a:lnTo>
                    <a:lnTo>
                      <a:pt x="1622" y="357"/>
                    </a:lnTo>
                    <a:lnTo>
                      <a:pt x="1629" y="215"/>
                    </a:lnTo>
                    <a:lnTo>
                      <a:pt x="1615" y="145"/>
                    </a:lnTo>
                    <a:lnTo>
                      <a:pt x="1585" y="74"/>
                    </a:lnTo>
                    <a:lnTo>
                      <a:pt x="1403" y="111"/>
                    </a:lnTo>
                    <a:lnTo>
                      <a:pt x="1398" y="185"/>
                    </a:lnTo>
                    <a:lnTo>
                      <a:pt x="1382" y="219"/>
                    </a:lnTo>
                    <a:lnTo>
                      <a:pt x="1355" y="251"/>
                    </a:lnTo>
                    <a:lnTo>
                      <a:pt x="1242" y="258"/>
                    </a:lnTo>
                    <a:lnTo>
                      <a:pt x="1207" y="241"/>
                    </a:lnTo>
                    <a:lnTo>
                      <a:pt x="1204" y="211"/>
                    </a:lnTo>
                    <a:lnTo>
                      <a:pt x="1228" y="234"/>
                    </a:lnTo>
                    <a:lnTo>
                      <a:pt x="1297" y="241"/>
                    </a:lnTo>
                    <a:lnTo>
                      <a:pt x="1359" y="207"/>
                    </a:lnTo>
                    <a:lnTo>
                      <a:pt x="1367" y="100"/>
                    </a:lnTo>
                    <a:lnTo>
                      <a:pt x="1421" y="67"/>
                    </a:lnTo>
                    <a:lnTo>
                      <a:pt x="1482" y="44"/>
                    </a:lnTo>
                    <a:lnTo>
                      <a:pt x="1606" y="0"/>
                    </a:lnTo>
                    <a:lnTo>
                      <a:pt x="1643" y="92"/>
                    </a:lnTo>
                    <a:lnTo>
                      <a:pt x="1681" y="223"/>
                    </a:lnTo>
                    <a:lnTo>
                      <a:pt x="1709" y="461"/>
                    </a:lnTo>
                    <a:lnTo>
                      <a:pt x="1618" y="495"/>
                    </a:lnTo>
                    <a:lnTo>
                      <a:pt x="1524" y="526"/>
                    </a:lnTo>
                    <a:lnTo>
                      <a:pt x="1431" y="557"/>
                    </a:lnTo>
                    <a:lnTo>
                      <a:pt x="1335" y="588"/>
                    </a:lnTo>
                    <a:lnTo>
                      <a:pt x="1239" y="619"/>
                    </a:lnTo>
                    <a:lnTo>
                      <a:pt x="1144" y="648"/>
                    </a:lnTo>
                    <a:lnTo>
                      <a:pt x="1046" y="674"/>
                    </a:lnTo>
                    <a:lnTo>
                      <a:pt x="949" y="701"/>
                    </a:lnTo>
                    <a:lnTo>
                      <a:pt x="852" y="725"/>
                    </a:lnTo>
                    <a:lnTo>
                      <a:pt x="754" y="748"/>
                    </a:lnTo>
                    <a:lnTo>
                      <a:pt x="656" y="769"/>
                    </a:lnTo>
                    <a:lnTo>
                      <a:pt x="557" y="788"/>
                    </a:lnTo>
                    <a:lnTo>
                      <a:pt x="361" y="820"/>
                    </a:lnTo>
                    <a:lnTo>
                      <a:pt x="168" y="840"/>
                    </a:lnTo>
                    <a:lnTo>
                      <a:pt x="70" y="807"/>
                    </a:lnTo>
                    <a:lnTo>
                      <a:pt x="0" y="73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7" name="Freeform 468"/>
              <p:cNvSpPr>
                <a:spLocks/>
              </p:cNvSpPr>
              <p:nvPr/>
            </p:nvSpPr>
            <p:spPr bwMode="auto">
              <a:xfrm>
                <a:off x="4792" y="2118"/>
                <a:ext cx="119" cy="141"/>
              </a:xfrm>
              <a:custGeom>
                <a:avLst/>
                <a:gdLst>
                  <a:gd name="T0" fmla="*/ 14 w 357"/>
                  <a:gd name="T1" fmla="*/ 424 h 424"/>
                  <a:gd name="T2" fmla="*/ 0 w 357"/>
                  <a:gd name="T3" fmla="*/ 335 h 424"/>
                  <a:gd name="T4" fmla="*/ 10 w 357"/>
                  <a:gd name="T5" fmla="*/ 289 h 424"/>
                  <a:gd name="T6" fmla="*/ 36 w 357"/>
                  <a:gd name="T7" fmla="*/ 258 h 424"/>
                  <a:gd name="T8" fmla="*/ 80 w 357"/>
                  <a:gd name="T9" fmla="*/ 222 h 424"/>
                  <a:gd name="T10" fmla="*/ 129 w 357"/>
                  <a:gd name="T11" fmla="*/ 190 h 424"/>
                  <a:gd name="T12" fmla="*/ 180 w 357"/>
                  <a:gd name="T13" fmla="*/ 161 h 424"/>
                  <a:gd name="T14" fmla="*/ 232 w 357"/>
                  <a:gd name="T15" fmla="*/ 134 h 424"/>
                  <a:gd name="T16" fmla="*/ 214 w 357"/>
                  <a:gd name="T17" fmla="*/ 109 h 424"/>
                  <a:gd name="T18" fmla="*/ 181 w 357"/>
                  <a:gd name="T19" fmla="*/ 80 h 424"/>
                  <a:gd name="T20" fmla="*/ 122 w 357"/>
                  <a:gd name="T21" fmla="*/ 30 h 424"/>
                  <a:gd name="T22" fmla="*/ 184 w 357"/>
                  <a:gd name="T23" fmla="*/ 0 h 424"/>
                  <a:gd name="T24" fmla="*/ 225 w 357"/>
                  <a:gd name="T25" fmla="*/ 54 h 424"/>
                  <a:gd name="T26" fmla="*/ 275 w 357"/>
                  <a:gd name="T27" fmla="*/ 123 h 424"/>
                  <a:gd name="T28" fmla="*/ 323 w 357"/>
                  <a:gd name="T29" fmla="*/ 193 h 424"/>
                  <a:gd name="T30" fmla="*/ 357 w 357"/>
                  <a:gd name="T31" fmla="*/ 255 h 424"/>
                  <a:gd name="T32" fmla="*/ 318 w 357"/>
                  <a:gd name="T33" fmla="*/ 266 h 424"/>
                  <a:gd name="T34" fmla="*/ 284 w 357"/>
                  <a:gd name="T35" fmla="*/ 225 h 424"/>
                  <a:gd name="T36" fmla="*/ 262 w 357"/>
                  <a:gd name="T37" fmla="*/ 204 h 424"/>
                  <a:gd name="T38" fmla="*/ 243 w 357"/>
                  <a:gd name="T39" fmla="*/ 194 h 424"/>
                  <a:gd name="T40" fmla="*/ 159 w 357"/>
                  <a:gd name="T41" fmla="*/ 214 h 424"/>
                  <a:gd name="T42" fmla="*/ 213 w 357"/>
                  <a:gd name="T43" fmla="*/ 236 h 424"/>
                  <a:gd name="T44" fmla="*/ 246 w 357"/>
                  <a:gd name="T45" fmla="*/ 271 h 424"/>
                  <a:gd name="T46" fmla="*/ 195 w 357"/>
                  <a:gd name="T47" fmla="*/ 281 h 424"/>
                  <a:gd name="T48" fmla="*/ 163 w 357"/>
                  <a:gd name="T49" fmla="*/ 262 h 424"/>
                  <a:gd name="T50" fmla="*/ 133 w 357"/>
                  <a:gd name="T51" fmla="*/ 258 h 424"/>
                  <a:gd name="T52" fmla="*/ 80 w 357"/>
                  <a:gd name="T53" fmla="*/ 284 h 424"/>
                  <a:gd name="T54" fmla="*/ 51 w 357"/>
                  <a:gd name="T55" fmla="*/ 338 h 424"/>
                  <a:gd name="T56" fmla="*/ 60 w 357"/>
                  <a:gd name="T57" fmla="*/ 397 h 424"/>
                  <a:gd name="T58" fmla="*/ 14 w 357"/>
                  <a:gd name="T59" fmla="*/ 424 h 424"/>
                  <a:gd name="T60" fmla="*/ 14 w 357"/>
                  <a:gd name="T61" fmla="*/ 424 h 42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57"/>
                  <a:gd name="T94" fmla="*/ 0 h 424"/>
                  <a:gd name="T95" fmla="*/ 357 w 357"/>
                  <a:gd name="T96" fmla="*/ 424 h 42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57" h="424">
                    <a:moveTo>
                      <a:pt x="14" y="424"/>
                    </a:moveTo>
                    <a:lnTo>
                      <a:pt x="0" y="335"/>
                    </a:lnTo>
                    <a:lnTo>
                      <a:pt x="10" y="289"/>
                    </a:lnTo>
                    <a:lnTo>
                      <a:pt x="36" y="258"/>
                    </a:lnTo>
                    <a:lnTo>
                      <a:pt x="80" y="222"/>
                    </a:lnTo>
                    <a:lnTo>
                      <a:pt x="129" y="190"/>
                    </a:lnTo>
                    <a:lnTo>
                      <a:pt x="180" y="161"/>
                    </a:lnTo>
                    <a:lnTo>
                      <a:pt x="232" y="134"/>
                    </a:lnTo>
                    <a:lnTo>
                      <a:pt x="214" y="109"/>
                    </a:lnTo>
                    <a:lnTo>
                      <a:pt x="181" y="80"/>
                    </a:lnTo>
                    <a:lnTo>
                      <a:pt x="122" y="30"/>
                    </a:lnTo>
                    <a:lnTo>
                      <a:pt x="184" y="0"/>
                    </a:lnTo>
                    <a:lnTo>
                      <a:pt x="225" y="54"/>
                    </a:lnTo>
                    <a:lnTo>
                      <a:pt x="275" y="123"/>
                    </a:lnTo>
                    <a:lnTo>
                      <a:pt x="323" y="193"/>
                    </a:lnTo>
                    <a:lnTo>
                      <a:pt x="357" y="255"/>
                    </a:lnTo>
                    <a:lnTo>
                      <a:pt x="318" y="266"/>
                    </a:lnTo>
                    <a:lnTo>
                      <a:pt x="284" y="225"/>
                    </a:lnTo>
                    <a:lnTo>
                      <a:pt x="262" y="204"/>
                    </a:lnTo>
                    <a:lnTo>
                      <a:pt x="243" y="194"/>
                    </a:lnTo>
                    <a:lnTo>
                      <a:pt x="159" y="214"/>
                    </a:lnTo>
                    <a:lnTo>
                      <a:pt x="213" y="236"/>
                    </a:lnTo>
                    <a:lnTo>
                      <a:pt x="246" y="271"/>
                    </a:lnTo>
                    <a:lnTo>
                      <a:pt x="195" y="281"/>
                    </a:lnTo>
                    <a:lnTo>
                      <a:pt x="163" y="262"/>
                    </a:lnTo>
                    <a:lnTo>
                      <a:pt x="133" y="258"/>
                    </a:lnTo>
                    <a:lnTo>
                      <a:pt x="80" y="284"/>
                    </a:lnTo>
                    <a:lnTo>
                      <a:pt x="51" y="338"/>
                    </a:lnTo>
                    <a:lnTo>
                      <a:pt x="60" y="397"/>
                    </a:lnTo>
                    <a:lnTo>
                      <a:pt x="14" y="4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8" name="Freeform 469"/>
              <p:cNvSpPr>
                <a:spLocks/>
              </p:cNvSpPr>
              <p:nvPr/>
            </p:nvSpPr>
            <p:spPr bwMode="auto">
              <a:xfrm>
                <a:off x="4640" y="1995"/>
                <a:ext cx="438" cy="180"/>
              </a:xfrm>
              <a:custGeom>
                <a:avLst/>
                <a:gdLst>
                  <a:gd name="T0" fmla="*/ 1118 w 1316"/>
                  <a:gd name="T1" fmla="*/ 161 h 540"/>
                  <a:gd name="T2" fmla="*/ 973 w 1316"/>
                  <a:gd name="T3" fmla="*/ 220 h 540"/>
                  <a:gd name="T4" fmla="*/ 1206 w 1316"/>
                  <a:gd name="T5" fmla="*/ 478 h 540"/>
                  <a:gd name="T6" fmla="*/ 1316 w 1316"/>
                  <a:gd name="T7" fmla="*/ 450 h 540"/>
                  <a:gd name="T8" fmla="*/ 1191 w 1316"/>
                  <a:gd name="T9" fmla="*/ 511 h 540"/>
                  <a:gd name="T10" fmla="*/ 1072 w 1316"/>
                  <a:gd name="T11" fmla="*/ 540 h 540"/>
                  <a:gd name="T12" fmla="*/ 1008 w 1316"/>
                  <a:gd name="T13" fmla="*/ 390 h 540"/>
                  <a:gd name="T14" fmla="*/ 856 w 1316"/>
                  <a:gd name="T15" fmla="*/ 398 h 540"/>
                  <a:gd name="T16" fmla="*/ 955 w 1316"/>
                  <a:gd name="T17" fmla="*/ 317 h 540"/>
                  <a:gd name="T18" fmla="*/ 919 w 1316"/>
                  <a:gd name="T19" fmla="*/ 260 h 540"/>
                  <a:gd name="T20" fmla="*/ 747 w 1316"/>
                  <a:gd name="T21" fmla="*/ 348 h 540"/>
                  <a:gd name="T22" fmla="*/ 634 w 1316"/>
                  <a:gd name="T23" fmla="*/ 402 h 540"/>
                  <a:gd name="T24" fmla="*/ 513 w 1316"/>
                  <a:gd name="T25" fmla="*/ 398 h 540"/>
                  <a:gd name="T26" fmla="*/ 81 w 1316"/>
                  <a:gd name="T27" fmla="*/ 452 h 540"/>
                  <a:gd name="T28" fmla="*/ 98 w 1316"/>
                  <a:gd name="T29" fmla="*/ 368 h 540"/>
                  <a:gd name="T30" fmla="*/ 0 w 1316"/>
                  <a:gd name="T31" fmla="*/ 329 h 540"/>
                  <a:gd name="T32" fmla="*/ 48 w 1316"/>
                  <a:gd name="T33" fmla="*/ 256 h 540"/>
                  <a:gd name="T34" fmla="*/ 109 w 1316"/>
                  <a:gd name="T35" fmla="*/ 188 h 540"/>
                  <a:gd name="T36" fmla="*/ 71 w 1316"/>
                  <a:gd name="T37" fmla="*/ 147 h 540"/>
                  <a:gd name="T38" fmla="*/ 524 w 1316"/>
                  <a:gd name="T39" fmla="*/ 0 h 540"/>
                  <a:gd name="T40" fmla="*/ 395 w 1316"/>
                  <a:gd name="T41" fmla="*/ 88 h 540"/>
                  <a:gd name="T42" fmla="*/ 274 w 1316"/>
                  <a:gd name="T43" fmla="*/ 224 h 540"/>
                  <a:gd name="T44" fmla="*/ 204 w 1316"/>
                  <a:gd name="T45" fmla="*/ 328 h 540"/>
                  <a:gd name="T46" fmla="*/ 233 w 1316"/>
                  <a:gd name="T47" fmla="*/ 361 h 540"/>
                  <a:gd name="T48" fmla="*/ 271 w 1316"/>
                  <a:gd name="T49" fmla="*/ 345 h 540"/>
                  <a:gd name="T50" fmla="*/ 307 w 1316"/>
                  <a:gd name="T51" fmla="*/ 275 h 540"/>
                  <a:gd name="T52" fmla="*/ 331 w 1316"/>
                  <a:gd name="T53" fmla="*/ 328 h 540"/>
                  <a:gd name="T54" fmla="*/ 371 w 1316"/>
                  <a:gd name="T55" fmla="*/ 286 h 540"/>
                  <a:gd name="T56" fmla="*/ 393 w 1316"/>
                  <a:gd name="T57" fmla="*/ 312 h 540"/>
                  <a:gd name="T58" fmla="*/ 438 w 1316"/>
                  <a:gd name="T59" fmla="*/ 239 h 540"/>
                  <a:gd name="T60" fmla="*/ 463 w 1316"/>
                  <a:gd name="T61" fmla="*/ 293 h 540"/>
                  <a:gd name="T62" fmla="*/ 511 w 1316"/>
                  <a:gd name="T63" fmla="*/ 242 h 540"/>
                  <a:gd name="T64" fmla="*/ 536 w 1316"/>
                  <a:gd name="T65" fmla="*/ 277 h 540"/>
                  <a:gd name="T66" fmla="*/ 568 w 1316"/>
                  <a:gd name="T67" fmla="*/ 210 h 540"/>
                  <a:gd name="T68" fmla="*/ 621 w 1316"/>
                  <a:gd name="T69" fmla="*/ 252 h 540"/>
                  <a:gd name="T70" fmla="*/ 649 w 1316"/>
                  <a:gd name="T71" fmla="*/ 249 h 540"/>
                  <a:gd name="T72" fmla="*/ 685 w 1316"/>
                  <a:gd name="T73" fmla="*/ 172 h 540"/>
                  <a:gd name="T74" fmla="*/ 725 w 1316"/>
                  <a:gd name="T75" fmla="*/ 227 h 540"/>
                  <a:gd name="T76" fmla="*/ 751 w 1316"/>
                  <a:gd name="T77" fmla="*/ 187 h 540"/>
                  <a:gd name="T78" fmla="*/ 808 w 1316"/>
                  <a:gd name="T79" fmla="*/ 169 h 540"/>
                  <a:gd name="T80" fmla="*/ 854 w 1316"/>
                  <a:gd name="T81" fmla="*/ 177 h 540"/>
                  <a:gd name="T82" fmla="*/ 871 w 1316"/>
                  <a:gd name="T83" fmla="*/ 146 h 540"/>
                  <a:gd name="T84" fmla="*/ 903 w 1316"/>
                  <a:gd name="T85" fmla="*/ 169 h 540"/>
                  <a:gd name="T86" fmla="*/ 936 w 1316"/>
                  <a:gd name="T87" fmla="*/ 153 h 540"/>
                  <a:gd name="T88" fmla="*/ 972 w 1316"/>
                  <a:gd name="T89" fmla="*/ 96 h 540"/>
                  <a:gd name="T90" fmla="*/ 1016 w 1316"/>
                  <a:gd name="T91" fmla="*/ 132 h 540"/>
                  <a:gd name="T92" fmla="*/ 1028 w 1316"/>
                  <a:gd name="T93" fmla="*/ 96 h 540"/>
                  <a:gd name="T94" fmla="*/ 1094 w 1316"/>
                  <a:gd name="T95" fmla="*/ 99 h 54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316"/>
                  <a:gd name="T145" fmla="*/ 0 h 540"/>
                  <a:gd name="T146" fmla="*/ 1316 w 1316"/>
                  <a:gd name="T147" fmla="*/ 540 h 54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316" h="540">
                    <a:moveTo>
                      <a:pt x="1094" y="99"/>
                    </a:moveTo>
                    <a:lnTo>
                      <a:pt x="1118" y="161"/>
                    </a:lnTo>
                    <a:lnTo>
                      <a:pt x="1045" y="191"/>
                    </a:lnTo>
                    <a:lnTo>
                      <a:pt x="973" y="220"/>
                    </a:lnTo>
                    <a:lnTo>
                      <a:pt x="1096" y="514"/>
                    </a:lnTo>
                    <a:lnTo>
                      <a:pt x="1206" y="478"/>
                    </a:lnTo>
                    <a:lnTo>
                      <a:pt x="1261" y="458"/>
                    </a:lnTo>
                    <a:lnTo>
                      <a:pt x="1316" y="450"/>
                    </a:lnTo>
                    <a:lnTo>
                      <a:pt x="1311" y="471"/>
                    </a:lnTo>
                    <a:lnTo>
                      <a:pt x="1191" y="511"/>
                    </a:lnTo>
                    <a:lnTo>
                      <a:pt x="1129" y="532"/>
                    </a:lnTo>
                    <a:lnTo>
                      <a:pt x="1072" y="540"/>
                    </a:lnTo>
                    <a:lnTo>
                      <a:pt x="1032" y="438"/>
                    </a:lnTo>
                    <a:lnTo>
                      <a:pt x="1008" y="390"/>
                    </a:lnTo>
                    <a:lnTo>
                      <a:pt x="973" y="345"/>
                    </a:lnTo>
                    <a:lnTo>
                      <a:pt x="856" y="398"/>
                    </a:lnTo>
                    <a:lnTo>
                      <a:pt x="839" y="379"/>
                    </a:lnTo>
                    <a:lnTo>
                      <a:pt x="955" y="317"/>
                    </a:lnTo>
                    <a:lnTo>
                      <a:pt x="941" y="288"/>
                    </a:lnTo>
                    <a:lnTo>
                      <a:pt x="919" y="260"/>
                    </a:lnTo>
                    <a:lnTo>
                      <a:pt x="803" y="314"/>
                    </a:lnTo>
                    <a:lnTo>
                      <a:pt x="747" y="348"/>
                    </a:lnTo>
                    <a:lnTo>
                      <a:pt x="690" y="380"/>
                    </a:lnTo>
                    <a:lnTo>
                      <a:pt x="634" y="402"/>
                    </a:lnTo>
                    <a:lnTo>
                      <a:pt x="575" y="410"/>
                    </a:lnTo>
                    <a:lnTo>
                      <a:pt x="513" y="398"/>
                    </a:lnTo>
                    <a:lnTo>
                      <a:pt x="448" y="358"/>
                    </a:lnTo>
                    <a:lnTo>
                      <a:pt x="81" y="452"/>
                    </a:lnTo>
                    <a:lnTo>
                      <a:pt x="78" y="412"/>
                    </a:lnTo>
                    <a:lnTo>
                      <a:pt x="98" y="368"/>
                    </a:lnTo>
                    <a:lnTo>
                      <a:pt x="7" y="391"/>
                    </a:lnTo>
                    <a:lnTo>
                      <a:pt x="0" y="329"/>
                    </a:lnTo>
                    <a:lnTo>
                      <a:pt x="20" y="293"/>
                    </a:lnTo>
                    <a:lnTo>
                      <a:pt x="48" y="256"/>
                    </a:lnTo>
                    <a:lnTo>
                      <a:pt x="78" y="220"/>
                    </a:lnTo>
                    <a:lnTo>
                      <a:pt x="109" y="188"/>
                    </a:lnTo>
                    <a:lnTo>
                      <a:pt x="149" y="147"/>
                    </a:lnTo>
                    <a:lnTo>
                      <a:pt x="71" y="147"/>
                    </a:lnTo>
                    <a:lnTo>
                      <a:pt x="71" y="82"/>
                    </a:lnTo>
                    <a:lnTo>
                      <a:pt x="524" y="0"/>
                    </a:lnTo>
                    <a:lnTo>
                      <a:pt x="508" y="44"/>
                    </a:lnTo>
                    <a:lnTo>
                      <a:pt x="395" y="88"/>
                    </a:lnTo>
                    <a:lnTo>
                      <a:pt x="310" y="173"/>
                    </a:lnTo>
                    <a:lnTo>
                      <a:pt x="274" y="224"/>
                    </a:lnTo>
                    <a:lnTo>
                      <a:pt x="238" y="277"/>
                    </a:lnTo>
                    <a:lnTo>
                      <a:pt x="204" y="328"/>
                    </a:lnTo>
                    <a:lnTo>
                      <a:pt x="168" y="376"/>
                    </a:lnTo>
                    <a:lnTo>
                      <a:pt x="233" y="361"/>
                    </a:lnTo>
                    <a:lnTo>
                      <a:pt x="238" y="312"/>
                    </a:lnTo>
                    <a:lnTo>
                      <a:pt x="271" y="345"/>
                    </a:lnTo>
                    <a:lnTo>
                      <a:pt x="303" y="343"/>
                    </a:lnTo>
                    <a:lnTo>
                      <a:pt x="307" y="275"/>
                    </a:lnTo>
                    <a:lnTo>
                      <a:pt x="325" y="295"/>
                    </a:lnTo>
                    <a:lnTo>
                      <a:pt x="331" y="328"/>
                    </a:lnTo>
                    <a:lnTo>
                      <a:pt x="369" y="321"/>
                    </a:lnTo>
                    <a:lnTo>
                      <a:pt x="371" y="286"/>
                    </a:lnTo>
                    <a:lnTo>
                      <a:pt x="390" y="289"/>
                    </a:lnTo>
                    <a:lnTo>
                      <a:pt x="393" y="312"/>
                    </a:lnTo>
                    <a:lnTo>
                      <a:pt x="442" y="301"/>
                    </a:lnTo>
                    <a:lnTo>
                      <a:pt x="438" y="239"/>
                    </a:lnTo>
                    <a:lnTo>
                      <a:pt x="456" y="259"/>
                    </a:lnTo>
                    <a:lnTo>
                      <a:pt x="463" y="293"/>
                    </a:lnTo>
                    <a:lnTo>
                      <a:pt x="503" y="292"/>
                    </a:lnTo>
                    <a:lnTo>
                      <a:pt x="511" y="242"/>
                    </a:lnTo>
                    <a:lnTo>
                      <a:pt x="531" y="253"/>
                    </a:lnTo>
                    <a:lnTo>
                      <a:pt x="536" y="277"/>
                    </a:lnTo>
                    <a:lnTo>
                      <a:pt x="562" y="272"/>
                    </a:lnTo>
                    <a:lnTo>
                      <a:pt x="568" y="210"/>
                    </a:lnTo>
                    <a:lnTo>
                      <a:pt x="598" y="266"/>
                    </a:lnTo>
                    <a:lnTo>
                      <a:pt x="621" y="252"/>
                    </a:lnTo>
                    <a:lnTo>
                      <a:pt x="628" y="220"/>
                    </a:lnTo>
                    <a:lnTo>
                      <a:pt x="649" y="249"/>
                    </a:lnTo>
                    <a:lnTo>
                      <a:pt x="692" y="237"/>
                    </a:lnTo>
                    <a:lnTo>
                      <a:pt x="685" y="172"/>
                    </a:lnTo>
                    <a:lnTo>
                      <a:pt x="712" y="191"/>
                    </a:lnTo>
                    <a:lnTo>
                      <a:pt x="725" y="227"/>
                    </a:lnTo>
                    <a:lnTo>
                      <a:pt x="751" y="219"/>
                    </a:lnTo>
                    <a:lnTo>
                      <a:pt x="751" y="187"/>
                    </a:lnTo>
                    <a:lnTo>
                      <a:pt x="792" y="205"/>
                    </a:lnTo>
                    <a:lnTo>
                      <a:pt x="808" y="169"/>
                    </a:lnTo>
                    <a:lnTo>
                      <a:pt x="826" y="195"/>
                    </a:lnTo>
                    <a:lnTo>
                      <a:pt x="854" y="177"/>
                    </a:lnTo>
                    <a:lnTo>
                      <a:pt x="850" y="136"/>
                    </a:lnTo>
                    <a:lnTo>
                      <a:pt x="871" y="146"/>
                    </a:lnTo>
                    <a:lnTo>
                      <a:pt x="874" y="166"/>
                    </a:lnTo>
                    <a:lnTo>
                      <a:pt x="903" y="169"/>
                    </a:lnTo>
                    <a:lnTo>
                      <a:pt x="917" y="137"/>
                    </a:lnTo>
                    <a:lnTo>
                      <a:pt x="936" y="153"/>
                    </a:lnTo>
                    <a:lnTo>
                      <a:pt x="962" y="147"/>
                    </a:lnTo>
                    <a:lnTo>
                      <a:pt x="972" y="96"/>
                    </a:lnTo>
                    <a:lnTo>
                      <a:pt x="998" y="125"/>
                    </a:lnTo>
                    <a:lnTo>
                      <a:pt x="1016" y="132"/>
                    </a:lnTo>
                    <a:lnTo>
                      <a:pt x="1030" y="118"/>
                    </a:lnTo>
                    <a:lnTo>
                      <a:pt x="1028" y="96"/>
                    </a:lnTo>
                    <a:lnTo>
                      <a:pt x="1059" y="100"/>
                    </a:lnTo>
                    <a:lnTo>
                      <a:pt x="1094" y="9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" name="Freeform 470"/>
              <p:cNvSpPr>
                <a:spLocks/>
              </p:cNvSpPr>
              <p:nvPr/>
            </p:nvSpPr>
            <p:spPr bwMode="auto">
              <a:xfrm>
                <a:off x="4998" y="1875"/>
                <a:ext cx="400" cy="191"/>
              </a:xfrm>
              <a:custGeom>
                <a:avLst/>
                <a:gdLst>
                  <a:gd name="T0" fmla="*/ 17 w 1199"/>
                  <a:gd name="T1" fmla="*/ 478 h 574"/>
                  <a:gd name="T2" fmla="*/ 22 w 1199"/>
                  <a:gd name="T3" fmla="*/ 436 h 574"/>
                  <a:gd name="T4" fmla="*/ 70 w 1199"/>
                  <a:gd name="T5" fmla="*/ 441 h 574"/>
                  <a:gd name="T6" fmla="*/ 109 w 1199"/>
                  <a:gd name="T7" fmla="*/ 438 h 574"/>
                  <a:gd name="T8" fmla="*/ 123 w 1199"/>
                  <a:gd name="T9" fmla="*/ 405 h 574"/>
                  <a:gd name="T10" fmla="*/ 165 w 1199"/>
                  <a:gd name="T11" fmla="*/ 412 h 574"/>
                  <a:gd name="T12" fmla="*/ 207 w 1199"/>
                  <a:gd name="T13" fmla="*/ 379 h 574"/>
                  <a:gd name="T14" fmla="*/ 252 w 1199"/>
                  <a:gd name="T15" fmla="*/ 385 h 574"/>
                  <a:gd name="T16" fmla="*/ 288 w 1199"/>
                  <a:gd name="T17" fmla="*/ 369 h 574"/>
                  <a:gd name="T18" fmla="*/ 292 w 1199"/>
                  <a:gd name="T19" fmla="*/ 325 h 574"/>
                  <a:gd name="T20" fmla="*/ 146 w 1199"/>
                  <a:gd name="T21" fmla="*/ 256 h 574"/>
                  <a:gd name="T22" fmla="*/ 145 w 1199"/>
                  <a:gd name="T23" fmla="*/ 227 h 574"/>
                  <a:gd name="T24" fmla="*/ 267 w 1199"/>
                  <a:gd name="T25" fmla="*/ 252 h 574"/>
                  <a:gd name="T26" fmla="*/ 379 w 1199"/>
                  <a:gd name="T27" fmla="*/ 314 h 574"/>
                  <a:gd name="T28" fmla="*/ 483 w 1199"/>
                  <a:gd name="T29" fmla="*/ 368 h 574"/>
                  <a:gd name="T30" fmla="*/ 256 w 1199"/>
                  <a:gd name="T31" fmla="*/ 191 h 574"/>
                  <a:gd name="T32" fmla="*/ 470 w 1199"/>
                  <a:gd name="T33" fmla="*/ 293 h 574"/>
                  <a:gd name="T34" fmla="*/ 514 w 1199"/>
                  <a:gd name="T35" fmla="*/ 259 h 574"/>
                  <a:gd name="T36" fmla="*/ 579 w 1199"/>
                  <a:gd name="T37" fmla="*/ 277 h 574"/>
                  <a:gd name="T38" fmla="*/ 607 w 1199"/>
                  <a:gd name="T39" fmla="*/ 259 h 574"/>
                  <a:gd name="T40" fmla="*/ 644 w 1199"/>
                  <a:gd name="T41" fmla="*/ 213 h 574"/>
                  <a:gd name="T42" fmla="*/ 695 w 1199"/>
                  <a:gd name="T43" fmla="*/ 235 h 574"/>
                  <a:gd name="T44" fmla="*/ 731 w 1199"/>
                  <a:gd name="T45" fmla="*/ 223 h 574"/>
                  <a:gd name="T46" fmla="*/ 758 w 1199"/>
                  <a:gd name="T47" fmla="*/ 177 h 574"/>
                  <a:gd name="T48" fmla="*/ 820 w 1199"/>
                  <a:gd name="T49" fmla="*/ 183 h 574"/>
                  <a:gd name="T50" fmla="*/ 844 w 1199"/>
                  <a:gd name="T51" fmla="*/ 177 h 574"/>
                  <a:gd name="T52" fmla="*/ 881 w 1199"/>
                  <a:gd name="T53" fmla="*/ 132 h 574"/>
                  <a:gd name="T54" fmla="*/ 928 w 1199"/>
                  <a:gd name="T55" fmla="*/ 148 h 574"/>
                  <a:gd name="T56" fmla="*/ 954 w 1199"/>
                  <a:gd name="T57" fmla="*/ 132 h 574"/>
                  <a:gd name="T58" fmla="*/ 982 w 1199"/>
                  <a:gd name="T59" fmla="*/ 91 h 574"/>
                  <a:gd name="T60" fmla="*/ 1030 w 1199"/>
                  <a:gd name="T61" fmla="*/ 97 h 574"/>
                  <a:gd name="T62" fmla="*/ 1066 w 1199"/>
                  <a:gd name="T63" fmla="*/ 91 h 574"/>
                  <a:gd name="T64" fmla="*/ 1078 w 1199"/>
                  <a:gd name="T65" fmla="*/ 55 h 574"/>
                  <a:gd name="T66" fmla="*/ 1096 w 1199"/>
                  <a:gd name="T67" fmla="*/ 9 h 574"/>
                  <a:gd name="T68" fmla="*/ 1172 w 1199"/>
                  <a:gd name="T69" fmla="*/ 71 h 574"/>
                  <a:gd name="T70" fmla="*/ 926 w 1199"/>
                  <a:gd name="T71" fmla="*/ 255 h 574"/>
                  <a:gd name="T72" fmla="*/ 1013 w 1199"/>
                  <a:gd name="T73" fmla="*/ 447 h 574"/>
                  <a:gd name="T74" fmla="*/ 928 w 1199"/>
                  <a:gd name="T75" fmla="*/ 406 h 574"/>
                  <a:gd name="T76" fmla="*/ 884 w 1199"/>
                  <a:gd name="T77" fmla="*/ 347 h 574"/>
                  <a:gd name="T78" fmla="*/ 826 w 1199"/>
                  <a:gd name="T79" fmla="*/ 307 h 574"/>
                  <a:gd name="T80" fmla="*/ 589 w 1199"/>
                  <a:gd name="T81" fmla="*/ 380 h 574"/>
                  <a:gd name="T82" fmla="*/ 659 w 1199"/>
                  <a:gd name="T83" fmla="*/ 427 h 574"/>
                  <a:gd name="T84" fmla="*/ 626 w 1199"/>
                  <a:gd name="T85" fmla="*/ 478 h 574"/>
                  <a:gd name="T86" fmla="*/ 458 w 1199"/>
                  <a:gd name="T87" fmla="*/ 416 h 574"/>
                  <a:gd name="T88" fmla="*/ 422 w 1199"/>
                  <a:gd name="T89" fmla="*/ 497 h 574"/>
                  <a:gd name="T90" fmla="*/ 347 w 1199"/>
                  <a:gd name="T91" fmla="*/ 457 h 574"/>
                  <a:gd name="T92" fmla="*/ 112 w 1199"/>
                  <a:gd name="T93" fmla="*/ 494 h 574"/>
                  <a:gd name="T94" fmla="*/ 33 w 1199"/>
                  <a:gd name="T95" fmla="*/ 526 h 57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99"/>
                  <a:gd name="T145" fmla="*/ 0 h 574"/>
                  <a:gd name="T146" fmla="*/ 1199 w 1199"/>
                  <a:gd name="T147" fmla="*/ 574 h 57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99" h="574">
                    <a:moveTo>
                      <a:pt x="33" y="526"/>
                    </a:moveTo>
                    <a:lnTo>
                      <a:pt x="17" y="478"/>
                    </a:lnTo>
                    <a:lnTo>
                      <a:pt x="0" y="427"/>
                    </a:lnTo>
                    <a:lnTo>
                      <a:pt x="22" y="436"/>
                    </a:lnTo>
                    <a:lnTo>
                      <a:pt x="37" y="454"/>
                    </a:lnTo>
                    <a:lnTo>
                      <a:pt x="70" y="441"/>
                    </a:lnTo>
                    <a:lnTo>
                      <a:pt x="70" y="420"/>
                    </a:lnTo>
                    <a:lnTo>
                      <a:pt x="109" y="438"/>
                    </a:lnTo>
                    <a:lnTo>
                      <a:pt x="130" y="427"/>
                    </a:lnTo>
                    <a:lnTo>
                      <a:pt x="123" y="405"/>
                    </a:lnTo>
                    <a:lnTo>
                      <a:pt x="141" y="390"/>
                    </a:lnTo>
                    <a:lnTo>
                      <a:pt x="165" y="412"/>
                    </a:lnTo>
                    <a:lnTo>
                      <a:pt x="193" y="398"/>
                    </a:lnTo>
                    <a:lnTo>
                      <a:pt x="207" y="379"/>
                    </a:lnTo>
                    <a:lnTo>
                      <a:pt x="225" y="395"/>
                    </a:lnTo>
                    <a:lnTo>
                      <a:pt x="252" y="385"/>
                    </a:lnTo>
                    <a:lnTo>
                      <a:pt x="256" y="348"/>
                    </a:lnTo>
                    <a:lnTo>
                      <a:pt x="288" y="369"/>
                    </a:lnTo>
                    <a:lnTo>
                      <a:pt x="328" y="352"/>
                    </a:lnTo>
                    <a:lnTo>
                      <a:pt x="292" y="325"/>
                    </a:lnTo>
                    <a:lnTo>
                      <a:pt x="221" y="289"/>
                    </a:lnTo>
                    <a:lnTo>
                      <a:pt x="146" y="256"/>
                    </a:lnTo>
                    <a:lnTo>
                      <a:pt x="97" y="237"/>
                    </a:lnTo>
                    <a:lnTo>
                      <a:pt x="145" y="227"/>
                    </a:lnTo>
                    <a:lnTo>
                      <a:pt x="193" y="215"/>
                    </a:lnTo>
                    <a:lnTo>
                      <a:pt x="267" y="252"/>
                    </a:lnTo>
                    <a:lnTo>
                      <a:pt x="321" y="282"/>
                    </a:lnTo>
                    <a:lnTo>
                      <a:pt x="379" y="314"/>
                    </a:lnTo>
                    <a:lnTo>
                      <a:pt x="436" y="344"/>
                    </a:lnTo>
                    <a:lnTo>
                      <a:pt x="483" y="368"/>
                    </a:lnTo>
                    <a:lnTo>
                      <a:pt x="527" y="380"/>
                    </a:lnTo>
                    <a:lnTo>
                      <a:pt x="256" y="191"/>
                    </a:lnTo>
                    <a:lnTo>
                      <a:pt x="299" y="177"/>
                    </a:lnTo>
                    <a:lnTo>
                      <a:pt x="470" y="293"/>
                    </a:lnTo>
                    <a:lnTo>
                      <a:pt x="516" y="289"/>
                    </a:lnTo>
                    <a:lnTo>
                      <a:pt x="514" y="259"/>
                    </a:lnTo>
                    <a:lnTo>
                      <a:pt x="540" y="272"/>
                    </a:lnTo>
                    <a:lnTo>
                      <a:pt x="579" y="277"/>
                    </a:lnTo>
                    <a:lnTo>
                      <a:pt x="579" y="228"/>
                    </a:lnTo>
                    <a:lnTo>
                      <a:pt x="607" y="259"/>
                    </a:lnTo>
                    <a:lnTo>
                      <a:pt x="638" y="255"/>
                    </a:lnTo>
                    <a:lnTo>
                      <a:pt x="644" y="213"/>
                    </a:lnTo>
                    <a:lnTo>
                      <a:pt x="671" y="245"/>
                    </a:lnTo>
                    <a:lnTo>
                      <a:pt x="695" y="235"/>
                    </a:lnTo>
                    <a:lnTo>
                      <a:pt x="692" y="177"/>
                    </a:lnTo>
                    <a:lnTo>
                      <a:pt x="731" y="223"/>
                    </a:lnTo>
                    <a:lnTo>
                      <a:pt x="754" y="213"/>
                    </a:lnTo>
                    <a:lnTo>
                      <a:pt x="758" y="177"/>
                    </a:lnTo>
                    <a:lnTo>
                      <a:pt x="783" y="198"/>
                    </a:lnTo>
                    <a:lnTo>
                      <a:pt x="820" y="183"/>
                    </a:lnTo>
                    <a:lnTo>
                      <a:pt x="811" y="133"/>
                    </a:lnTo>
                    <a:lnTo>
                      <a:pt x="844" y="177"/>
                    </a:lnTo>
                    <a:lnTo>
                      <a:pt x="875" y="165"/>
                    </a:lnTo>
                    <a:lnTo>
                      <a:pt x="881" y="132"/>
                    </a:lnTo>
                    <a:lnTo>
                      <a:pt x="907" y="153"/>
                    </a:lnTo>
                    <a:lnTo>
                      <a:pt x="928" y="148"/>
                    </a:lnTo>
                    <a:lnTo>
                      <a:pt x="918" y="92"/>
                    </a:lnTo>
                    <a:lnTo>
                      <a:pt x="954" y="132"/>
                    </a:lnTo>
                    <a:lnTo>
                      <a:pt x="977" y="126"/>
                    </a:lnTo>
                    <a:lnTo>
                      <a:pt x="982" y="91"/>
                    </a:lnTo>
                    <a:lnTo>
                      <a:pt x="1013" y="115"/>
                    </a:lnTo>
                    <a:lnTo>
                      <a:pt x="1030" y="97"/>
                    </a:lnTo>
                    <a:lnTo>
                      <a:pt x="1017" y="56"/>
                    </a:lnTo>
                    <a:lnTo>
                      <a:pt x="1066" y="91"/>
                    </a:lnTo>
                    <a:lnTo>
                      <a:pt x="1077" y="82"/>
                    </a:lnTo>
                    <a:lnTo>
                      <a:pt x="1078" y="55"/>
                    </a:lnTo>
                    <a:lnTo>
                      <a:pt x="1113" y="70"/>
                    </a:lnTo>
                    <a:lnTo>
                      <a:pt x="1096" y="9"/>
                    </a:lnTo>
                    <a:lnTo>
                      <a:pt x="1129" y="0"/>
                    </a:lnTo>
                    <a:lnTo>
                      <a:pt x="1172" y="71"/>
                    </a:lnTo>
                    <a:lnTo>
                      <a:pt x="1199" y="154"/>
                    </a:lnTo>
                    <a:lnTo>
                      <a:pt x="926" y="255"/>
                    </a:lnTo>
                    <a:lnTo>
                      <a:pt x="975" y="347"/>
                    </a:lnTo>
                    <a:lnTo>
                      <a:pt x="1013" y="447"/>
                    </a:lnTo>
                    <a:lnTo>
                      <a:pt x="954" y="463"/>
                    </a:lnTo>
                    <a:lnTo>
                      <a:pt x="928" y="406"/>
                    </a:lnTo>
                    <a:lnTo>
                      <a:pt x="907" y="376"/>
                    </a:lnTo>
                    <a:lnTo>
                      <a:pt x="884" y="347"/>
                    </a:lnTo>
                    <a:lnTo>
                      <a:pt x="858" y="323"/>
                    </a:lnTo>
                    <a:lnTo>
                      <a:pt x="826" y="307"/>
                    </a:lnTo>
                    <a:lnTo>
                      <a:pt x="753" y="308"/>
                    </a:lnTo>
                    <a:lnTo>
                      <a:pt x="589" y="380"/>
                    </a:lnTo>
                    <a:lnTo>
                      <a:pt x="620" y="402"/>
                    </a:lnTo>
                    <a:lnTo>
                      <a:pt x="659" y="427"/>
                    </a:lnTo>
                    <a:lnTo>
                      <a:pt x="706" y="483"/>
                    </a:lnTo>
                    <a:lnTo>
                      <a:pt x="626" y="478"/>
                    </a:lnTo>
                    <a:lnTo>
                      <a:pt x="542" y="443"/>
                    </a:lnTo>
                    <a:lnTo>
                      <a:pt x="458" y="416"/>
                    </a:lnTo>
                    <a:lnTo>
                      <a:pt x="378" y="427"/>
                    </a:lnTo>
                    <a:lnTo>
                      <a:pt x="422" y="497"/>
                    </a:lnTo>
                    <a:lnTo>
                      <a:pt x="451" y="574"/>
                    </a:lnTo>
                    <a:lnTo>
                      <a:pt x="347" y="457"/>
                    </a:lnTo>
                    <a:lnTo>
                      <a:pt x="190" y="468"/>
                    </a:lnTo>
                    <a:lnTo>
                      <a:pt x="112" y="494"/>
                    </a:lnTo>
                    <a:lnTo>
                      <a:pt x="33" y="5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" name="Freeform 471"/>
              <p:cNvSpPr>
                <a:spLocks/>
              </p:cNvSpPr>
              <p:nvPr/>
            </p:nvSpPr>
            <p:spPr bwMode="auto">
              <a:xfrm>
                <a:off x="4385" y="1803"/>
                <a:ext cx="255" cy="128"/>
              </a:xfrm>
              <a:custGeom>
                <a:avLst/>
                <a:gdLst>
                  <a:gd name="T0" fmla="*/ 657 w 766"/>
                  <a:gd name="T1" fmla="*/ 348 h 384"/>
                  <a:gd name="T2" fmla="*/ 439 w 766"/>
                  <a:gd name="T3" fmla="*/ 275 h 384"/>
                  <a:gd name="T4" fmla="*/ 388 w 766"/>
                  <a:gd name="T5" fmla="*/ 241 h 384"/>
                  <a:gd name="T6" fmla="*/ 333 w 766"/>
                  <a:gd name="T7" fmla="*/ 209 h 384"/>
                  <a:gd name="T8" fmla="*/ 275 w 766"/>
                  <a:gd name="T9" fmla="*/ 179 h 384"/>
                  <a:gd name="T10" fmla="*/ 216 w 766"/>
                  <a:gd name="T11" fmla="*/ 150 h 384"/>
                  <a:gd name="T12" fmla="*/ 160 w 766"/>
                  <a:gd name="T13" fmla="*/ 119 h 384"/>
                  <a:gd name="T14" fmla="*/ 0 w 766"/>
                  <a:gd name="T15" fmla="*/ 30 h 384"/>
                  <a:gd name="T16" fmla="*/ 24 w 766"/>
                  <a:gd name="T17" fmla="*/ 0 h 384"/>
                  <a:gd name="T18" fmla="*/ 131 w 766"/>
                  <a:gd name="T19" fmla="*/ 55 h 384"/>
                  <a:gd name="T20" fmla="*/ 188 w 766"/>
                  <a:gd name="T21" fmla="*/ 78 h 384"/>
                  <a:gd name="T22" fmla="*/ 248 w 766"/>
                  <a:gd name="T23" fmla="*/ 102 h 384"/>
                  <a:gd name="T24" fmla="*/ 307 w 766"/>
                  <a:gd name="T25" fmla="*/ 126 h 384"/>
                  <a:gd name="T26" fmla="*/ 365 w 766"/>
                  <a:gd name="T27" fmla="*/ 151 h 384"/>
                  <a:gd name="T28" fmla="*/ 423 w 766"/>
                  <a:gd name="T29" fmla="*/ 177 h 384"/>
                  <a:gd name="T30" fmla="*/ 482 w 766"/>
                  <a:gd name="T31" fmla="*/ 202 h 384"/>
                  <a:gd name="T32" fmla="*/ 598 w 766"/>
                  <a:gd name="T33" fmla="*/ 255 h 384"/>
                  <a:gd name="T34" fmla="*/ 712 w 766"/>
                  <a:gd name="T35" fmla="*/ 277 h 384"/>
                  <a:gd name="T36" fmla="*/ 766 w 766"/>
                  <a:gd name="T37" fmla="*/ 384 h 384"/>
                  <a:gd name="T38" fmla="*/ 657 w 766"/>
                  <a:gd name="T39" fmla="*/ 348 h 384"/>
                  <a:gd name="T40" fmla="*/ 657 w 766"/>
                  <a:gd name="T41" fmla="*/ 348 h 3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66"/>
                  <a:gd name="T64" fmla="*/ 0 h 384"/>
                  <a:gd name="T65" fmla="*/ 766 w 766"/>
                  <a:gd name="T66" fmla="*/ 384 h 3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66" h="384">
                    <a:moveTo>
                      <a:pt x="657" y="348"/>
                    </a:moveTo>
                    <a:lnTo>
                      <a:pt x="439" y="275"/>
                    </a:lnTo>
                    <a:lnTo>
                      <a:pt x="388" y="241"/>
                    </a:lnTo>
                    <a:lnTo>
                      <a:pt x="333" y="209"/>
                    </a:lnTo>
                    <a:lnTo>
                      <a:pt x="275" y="179"/>
                    </a:lnTo>
                    <a:lnTo>
                      <a:pt x="216" y="150"/>
                    </a:lnTo>
                    <a:lnTo>
                      <a:pt x="160" y="119"/>
                    </a:lnTo>
                    <a:lnTo>
                      <a:pt x="0" y="30"/>
                    </a:lnTo>
                    <a:lnTo>
                      <a:pt x="24" y="0"/>
                    </a:lnTo>
                    <a:lnTo>
                      <a:pt x="131" y="55"/>
                    </a:lnTo>
                    <a:lnTo>
                      <a:pt x="188" y="78"/>
                    </a:lnTo>
                    <a:lnTo>
                      <a:pt x="248" y="102"/>
                    </a:lnTo>
                    <a:lnTo>
                      <a:pt x="307" y="126"/>
                    </a:lnTo>
                    <a:lnTo>
                      <a:pt x="365" y="151"/>
                    </a:lnTo>
                    <a:lnTo>
                      <a:pt x="423" y="177"/>
                    </a:lnTo>
                    <a:lnTo>
                      <a:pt x="482" y="202"/>
                    </a:lnTo>
                    <a:lnTo>
                      <a:pt x="598" y="255"/>
                    </a:lnTo>
                    <a:lnTo>
                      <a:pt x="712" y="277"/>
                    </a:lnTo>
                    <a:lnTo>
                      <a:pt x="766" y="384"/>
                    </a:lnTo>
                    <a:lnTo>
                      <a:pt x="657" y="34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" name="Freeform 472"/>
              <p:cNvSpPr>
                <a:spLocks/>
              </p:cNvSpPr>
              <p:nvPr/>
            </p:nvSpPr>
            <p:spPr bwMode="auto">
              <a:xfrm>
                <a:off x="4805" y="1888"/>
                <a:ext cx="261" cy="137"/>
              </a:xfrm>
              <a:custGeom>
                <a:avLst/>
                <a:gdLst>
                  <a:gd name="T0" fmla="*/ 102 w 784"/>
                  <a:gd name="T1" fmla="*/ 410 h 410"/>
                  <a:gd name="T2" fmla="*/ 123 w 784"/>
                  <a:gd name="T3" fmla="*/ 345 h 410"/>
                  <a:gd name="T4" fmla="*/ 0 w 784"/>
                  <a:gd name="T5" fmla="*/ 365 h 410"/>
                  <a:gd name="T6" fmla="*/ 21 w 784"/>
                  <a:gd name="T7" fmla="*/ 322 h 410"/>
                  <a:gd name="T8" fmla="*/ 622 w 784"/>
                  <a:gd name="T9" fmla="*/ 158 h 410"/>
                  <a:gd name="T10" fmla="*/ 594 w 784"/>
                  <a:gd name="T11" fmla="*/ 140 h 410"/>
                  <a:gd name="T12" fmla="*/ 560 w 784"/>
                  <a:gd name="T13" fmla="*/ 128 h 410"/>
                  <a:gd name="T14" fmla="*/ 492 w 784"/>
                  <a:gd name="T15" fmla="*/ 124 h 410"/>
                  <a:gd name="T16" fmla="*/ 92 w 784"/>
                  <a:gd name="T17" fmla="*/ 221 h 410"/>
                  <a:gd name="T18" fmla="*/ 143 w 784"/>
                  <a:gd name="T19" fmla="*/ 150 h 410"/>
                  <a:gd name="T20" fmla="*/ 232 w 784"/>
                  <a:gd name="T21" fmla="*/ 133 h 410"/>
                  <a:gd name="T22" fmla="*/ 305 w 784"/>
                  <a:gd name="T23" fmla="*/ 97 h 410"/>
                  <a:gd name="T24" fmla="*/ 371 w 784"/>
                  <a:gd name="T25" fmla="*/ 51 h 410"/>
                  <a:gd name="T26" fmla="*/ 405 w 784"/>
                  <a:gd name="T27" fmla="*/ 26 h 410"/>
                  <a:gd name="T28" fmla="*/ 441 w 784"/>
                  <a:gd name="T29" fmla="*/ 0 h 410"/>
                  <a:gd name="T30" fmla="*/ 784 w 784"/>
                  <a:gd name="T31" fmla="*/ 183 h 410"/>
                  <a:gd name="T32" fmla="*/ 631 w 784"/>
                  <a:gd name="T33" fmla="*/ 232 h 410"/>
                  <a:gd name="T34" fmla="*/ 531 w 784"/>
                  <a:gd name="T35" fmla="*/ 272 h 410"/>
                  <a:gd name="T36" fmla="*/ 478 w 784"/>
                  <a:gd name="T37" fmla="*/ 294 h 410"/>
                  <a:gd name="T38" fmla="*/ 426 w 784"/>
                  <a:gd name="T39" fmla="*/ 315 h 410"/>
                  <a:gd name="T40" fmla="*/ 323 w 784"/>
                  <a:gd name="T41" fmla="*/ 356 h 410"/>
                  <a:gd name="T42" fmla="*/ 230 w 784"/>
                  <a:gd name="T43" fmla="*/ 390 h 410"/>
                  <a:gd name="T44" fmla="*/ 153 w 784"/>
                  <a:gd name="T45" fmla="*/ 409 h 410"/>
                  <a:gd name="T46" fmla="*/ 102 w 784"/>
                  <a:gd name="T47" fmla="*/ 410 h 410"/>
                  <a:gd name="T48" fmla="*/ 102 w 784"/>
                  <a:gd name="T49" fmla="*/ 410 h 41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84"/>
                  <a:gd name="T76" fmla="*/ 0 h 410"/>
                  <a:gd name="T77" fmla="*/ 784 w 784"/>
                  <a:gd name="T78" fmla="*/ 410 h 41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84" h="410">
                    <a:moveTo>
                      <a:pt x="102" y="410"/>
                    </a:moveTo>
                    <a:lnTo>
                      <a:pt x="123" y="345"/>
                    </a:lnTo>
                    <a:lnTo>
                      <a:pt x="0" y="365"/>
                    </a:lnTo>
                    <a:lnTo>
                      <a:pt x="21" y="322"/>
                    </a:lnTo>
                    <a:lnTo>
                      <a:pt x="622" y="158"/>
                    </a:lnTo>
                    <a:lnTo>
                      <a:pt x="594" y="140"/>
                    </a:lnTo>
                    <a:lnTo>
                      <a:pt x="560" y="128"/>
                    </a:lnTo>
                    <a:lnTo>
                      <a:pt x="492" y="124"/>
                    </a:lnTo>
                    <a:lnTo>
                      <a:pt x="92" y="221"/>
                    </a:lnTo>
                    <a:lnTo>
                      <a:pt x="143" y="150"/>
                    </a:lnTo>
                    <a:lnTo>
                      <a:pt x="232" y="133"/>
                    </a:lnTo>
                    <a:lnTo>
                      <a:pt x="305" y="97"/>
                    </a:lnTo>
                    <a:lnTo>
                      <a:pt x="371" y="51"/>
                    </a:lnTo>
                    <a:lnTo>
                      <a:pt x="405" y="26"/>
                    </a:lnTo>
                    <a:lnTo>
                      <a:pt x="441" y="0"/>
                    </a:lnTo>
                    <a:lnTo>
                      <a:pt x="784" y="183"/>
                    </a:lnTo>
                    <a:lnTo>
                      <a:pt x="631" y="232"/>
                    </a:lnTo>
                    <a:lnTo>
                      <a:pt x="531" y="272"/>
                    </a:lnTo>
                    <a:lnTo>
                      <a:pt x="478" y="294"/>
                    </a:lnTo>
                    <a:lnTo>
                      <a:pt x="426" y="315"/>
                    </a:lnTo>
                    <a:lnTo>
                      <a:pt x="323" y="356"/>
                    </a:lnTo>
                    <a:lnTo>
                      <a:pt x="230" y="390"/>
                    </a:lnTo>
                    <a:lnTo>
                      <a:pt x="153" y="409"/>
                    </a:lnTo>
                    <a:lnTo>
                      <a:pt x="102" y="4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" name="Freeform 473"/>
              <p:cNvSpPr>
                <a:spLocks/>
              </p:cNvSpPr>
              <p:nvPr/>
            </p:nvSpPr>
            <p:spPr bwMode="auto">
              <a:xfrm>
                <a:off x="4577" y="1611"/>
                <a:ext cx="608" cy="410"/>
              </a:xfrm>
              <a:custGeom>
                <a:avLst/>
                <a:gdLst>
                  <a:gd name="T0" fmla="*/ 83 w 1824"/>
                  <a:gd name="T1" fmla="*/ 617 h 1229"/>
                  <a:gd name="T2" fmla="*/ 190 w 1824"/>
                  <a:gd name="T3" fmla="*/ 823 h 1229"/>
                  <a:gd name="T4" fmla="*/ 270 w 1824"/>
                  <a:gd name="T5" fmla="*/ 933 h 1229"/>
                  <a:gd name="T6" fmla="*/ 420 w 1824"/>
                  <a:gd name="T7" fmla="*/ 1078 h 1229"/>
                  <a:gd name="T8" fmla="*/ 492 w 1824"/>
                  <a:gd name="T9" fmla="*/ 932 h 1229"/>
                  <a:gd name="T10" fmla="*/ 431 w 1824"/>
                  <a:gd name="T11" fmla="*/ 823 h 1229"/>
                  <a:gd name="T12" fmla="*/ 527 w 1824"/>
                  <a:gd name="T13" fmla="*/ 814 h 1229"/>
                  <a:gd name="T14" fmla="*/ 491 w 1824"/>
                  <a:gd name="T15" fmla="*/ 881 h 1229"/>
                  <a:gd name="T16" fmla="*/ 620 w 1824"/>
                  <a:gd name="T17" fmla="*/ 943 h 1229"/>
                  <a:gd name="T18" fmla="*/ 729 w 1824"/>
                  <a:gd name="T19" fmla="*/ 824 h 1229"/>
                  <a:gd name="T20" fmla="*/ 689 w 1824"/>
                  <a:gd name="T21" fmla="*/ 725 h 1229"/>
                  <a:gd name="T22" fmla="*/ 489 w 1824"/>
                  <a:gd name="T23" fmla="*/ 588 h 1229"/>
                  <a:gd name="T24" fmla="*/ 397 w 1824"/>
                  <a:gd name="T25" fmla="*/ 481 h 1229"/>
                  <a:gd name="T26" fmla="*/ 532 w 1824"/>
                  <a:gd name="T27" fmla="*/ 411 h 1229"/>
                  <a:gd name="T28" fmla="*/ 703 w 1824"/>
                  <a:gd name="T29" fmla="*/ 380 h 1229"/>
                  <a:gd name="T30" fmla="*/ 922 w 1824"/>
                  <a:gd name="T31" fmla="*/ 500 h 1229"/>
                  <a:gd name="T32" fmla="*/ 1099 w 1824"/>
                  <a:gd name="T33" fmla="*/ 393 h 1229"/>
                  <a:gd name="T34" fmla="*/ 1290 w 1824"/>
                  <a:gd name="T35" fmla="*/ 193 h 1229"/>
                  <a:gd name="T36" fmla="*/ 838 w 1824"/>
                  <a:gd name="T37" fmla="*/ 218 h 1229"/>
                  <a:gd name="T38" fmla="*/ 1061 w 1824"/>
                  <a:gd name="T39" fmla="*/ 157 h 1229"/>
                  <a:gd name="T40" fmla="*/ 1356 w 1824"/>
                  <a:gd name="T41" fmla="*/ 76 h 1229"/>
                  <a:gd name="T42" fmla="*/ 1505 w 1824"/>
                  <a:gd name="T43" fmla="*/ 26 h 1229"/>
                  <a:gd name="T44" fmla="*/ 1435 w 1824"/>
                  <a:gd name="T45" fmla="*/ 158 h 1229"/>
                  <a:gd name="T46" fmla="*/ 1327 w 1824"/>
                  <a:gd name="T47" fmla="*/ 277 h 1229"/>
                  <a:gd name="T48" fmla="*/ 1632 w 1824"/>
                  <a:gd name="T49" fmla="*/ 182 h 1229"/>
                  <a:gd name="T50" fmla="*/ 1574 w 1824"/>
                  <a:gd name="T51" fmla="*/ 320 h 1229"/>
                  <a:gd name="T52" fmla="*/ 1431 w 1824"/>
                  <a:gd name="T53" fmla="*/ 602 h 1229"/>
                  <a:gd name="T54" fmla="*/ 1820 w 1824"/>
                  <a:gd name="T55" fmla="*/ 816 h 1229"/>
                  <a:gd name="T56" fmla="*/ 1494 w 1824"/>
                  <a:gd name="T57" fmla="*/ 923 h 1229"/>
                  <a:gd name="T58" fmla="*/ 1824 w 1824"/>
                  <a:gd name="T59" fmla="*/ 863 h 1229"/>
                  <a:gd name="T60" fmla="*/ 1680 w 1824"/>
                  <a:gd name="T61" fmla="*/ 962 h 1229"/>
                  <a:gd name="T62" fmla="*/ 1474 w 1824"/>
                  <a:gd name="T63" fmla="*/ 952 h 1229"/>
                  <a:gd name="T64" fmla="*/ 1257 w 1824"/>
                  <a:gd name="T65" fmla="*/ 609 h 1229"/>
                  <a:gd name="T66" fmla="*/ 1325 w 1824"/>
                  <a:gd name="T67" fmla="*/ 573 h 1229"/>
                  <a:gd name="T68" fmla="*/ 1238 w 1824"/>
                  <a:gd name="T69" fmla="*/ 761 h 1229"/>
                  <a:gd name="T70" fmla="*/ 1377 w 1824"/>
                  <a:gd name="T71" fmla="*/ 522 h 1229"/>
                  <a:gd name="T72" fmla="*/ 1337 w 1824"/>
                  <a:gd name="T73" fmla="*/ 485 h 1229"/>
                  <a:gd name="T74" fmla="*/ 1296 w 1824"/>
                  <a:gd name="T75" fmla="*/ 306 h 1229"/>
                  <a:gd name="T76" fmla="*/ 1274 w 1824"/>
                  <a:gd name="T77" fmla="*/ 496 h 1229"/>
                  <a:gd name="T78" fmla="*/ 998 w 1824"/>
                  <a:gd name="T79" fmla="*/ 630 h 1229"/>
                  <a:gd name="T80" fmla="*/ 856 w 1824"/>
                  <a:gd name="T81" fmla="*/ 584 h 1229"/>
                  <a:gd name="T82" fmla="*/ 768 w 1824"/>
                  <a:gd name="T83" fmla="*/ 491 h 1229"/>
                  <a:gd name="T84" fmla="*/ 713 w 1824"/>
                  <a:gd name="T85" fmla="*/ 422 h 1229"/>
                  <a:gd name="T86" fmla="*/ 525 w 1824"/>
                  <a:gd name="T87" fmla="*/ 485 h 1229"/>
                  <a:gd name="T88" fmla="*/ 492 w 1824"/>
                  <a:gd name="T89" fmla="*/ 478 h 1229"/>
                  <a:gd name="T90" fmla="*/ 520 w 1824"/>
                  <a:gd name="T91" fmla="*/ 496 h 1229"/>
                  <a:gd name="T92" fmla="*/ 564 w 1824"/>
                  <a:gd name="T93" fmla="*/ 638 h 1229"/>
                  <a:gd name="T94" fmla="*/ 733 w 1824"/>
                  <a:gd name="T95" fmla="*/ 659 h 1229"/>
                  <a:gd name="T96" fmla="*/ 1132 w 1824"/>
                  <a:gd name="T97" fmla="*/ 832 h 1229"/>
                  <a:gd name="T98" fmla="*/ 910 w 1824"/>
                  <a:gd name="T99" fmla="*/ 798 h 1229"/>
                  <a:gd name="T100" fmla="*/ 772 w 1824"/>
                  <a:gd name="T101" fmla="*/ 985 h 1229"/>
                  <a:gd name="T102" fmla="*/ 806 w 1824"/>
                  <a:gd name="T103" fmla="*/ 1046 h 1229"/>
                  <a:gd name="T104" fmla="*/ 609 w 1824"/>
                  <a:gd name="T105" fmla="*/ 1178 h 1229"/>
                  <a:gd name="T106" fmla="*/ 496 w 1824"/>
                  <a:gd name="T107" fmla="*/ 1137 h 1229"/>
                  <a:gd name="T108" fmla="*/ 442 w 1824"/>
                  <a:gd name="T109" fmla="*/ 1166 h 1229"/>
                  <a:gd name="T110" fmla="*/ 393 w 1824"/>
                  <a:gd name="T111" fmla="*/ 1222 h 1229"/>
                  <a:gd name="T112" fmla="*/ 267 w 1824"/>
                  <a:gd name="T113" fmla="*/ 1111 h 1229"/>
                  <a:gd name="T114" fmla="*/ 186 w 1824"/>
                  <a:gd name="T115" fmla="*/ 984 h 1229"/>
                  <a:gd name="T116" fmla="*/ 44 w 1824"/>
                  <a:gd name="T117" fmla="*/ 719 h 12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4"/>
                  <a:gd name="T178" fmla="*/ 0 h 1229"/>
                  <a:gd name="T179" fmla="*/ 1824 w 1824"/>
                  <a:gd name="T180" fmla="*/ 1229 h 122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4" h="1229">
                    <a:moveTo>
                      <a:pt x="0" y="539"/>
                    </a:moveTo>
                    <a:lnTo>
                      <a:pt x="52" y="532"/>
                    </a:lnTo>
                    <a:lnTo>
                      <a:pt x="83" y="617"/>
                    </a:lnTo>
                    <a:lnTo>
                      <a:pt x="121" y="701"/>
                    </a:lnTo>
                    <a:lnTo>
                      <a:pt x="165" y="783"/>
                    </a:lnTo>
                    <a:lnTo>
                      <a:pt x="190" y="823"/>
                    </a:lnTo>
                    <a:lnTo>
                      <a:pt x="215" y="861"/>
                    </a:lnTo>
                    <a:lnTo>
                      <a:pt x="243" y="898"/>
                    </a:lnTo>
                    <a:lnTo>
                      <a:pt x="270" y="933"/>
                    </a:lnTo>
                    <a:lnTo>
                      <a:pt x="328" y="998"/>
                    </a:lnTo>
                    <a:lnTo>
                      <a:pt x="389" y="1054"/>
                    </a:lnTo>
                    <a:lnTo>
                      <a:pt x="420" y="1078"/>
                    </a:lnTo>
                    <a:lnTo>
                      <a:pt x="453" y="1098"/>
                    </a:lnTo>
                    <a:lnTo>
                      <a:pt x="575" y="995"/>
                    </a:lnTo>
                    <a:lnTo>
                      <a:pt x="492" y="932"/>
                    </a:lnTo>
                    <a:lnTo>
                      <a:pt x="431" y="870"/>
                    </a:lnTo>
                    <a:lnTo>
                      <a:pt x="349" y="714"/>
                    </a:lnTo>
                    <a:lnTo>
                      <a:pt x="431" y="823"/>
                    </a:lnTo>
                    <a:lnTo>
                      <a:pt x="575" y="763"/>
                    </a:lnTo>
                    <a:lnTo>
                      <a:pt x="561" y="788"/>
                    </a:lnTo>
                    <a:lnTo>
                      <a:pt x="527" y="814"/>
                    </a:lnTo>
                    <a:lnTo>
                      <a:pt x="485" y="838"/>
                    </a:lnTo>
                    <a:lnTo>
                      <a:pt x="456" y="854"/>
                    </a:lnTo>
                    <a:lnTo>
                      <a:pt x="491" y="881"/>
                    </a:lnTo>
                    <a:lnTo>
                      <a:pt x="533" y="909"/>
                    </a:lnTo>
                    <a:lnTo>
                      <a:pt x="579" y="933"/>
                    </a:lnTo>
                    <a:lnTo>
                      <a:pt x="620" y="943"/>
                    </a:lnTo>
                    <a:lnTo>
                      <a:pt x="663" y="898"/>
                    </a:lnTo>
                    <a:lnTo>
                      <a:pt x="695" y="863"/>
                    </a:lnTo>
                    <a:lnTo>
                      <a:pt x="729" y="824"/>
                    </a:lnTo>
                    <a:lnTo>
                      <a:pt x="784" y="748"/>
                    </a:lnTo>
                    <a:lnTo>
                      <a:pt x="787" y="700"/>
                    </a:lnTo>
                    <a:lnTo>
                      <a:pt x="689" y="725"/>
                    </a:lnTo>
                    <a:lnTo>
                      <a:pt x="606" y="723"/>
                    </a:lnTo>
                    <a:lnTo>
                      <a:pt x="540" y="682"/>
                    </a:lnTo>
                    <a:lnTo>
                      <a:pt x="489" y="588"/>
                    </a:lnTo>
                    <a:lnTo>
                      <a:pt x="460" y="564"/>
                    </a:lnTo>
                    <a:lnTo>
                      <a:pt x="444" y="525"/>
                    </a:lnTo>
                    <a:lnTo>
                      <a:pt x="397" y="481"/>
                    </a:lnTo>
                    <a:lnTo>
                      <a:pt x="411" y="424"/>
                    </a:lnTo>
                    <a:lnTo>
                      <a:pt x="471" y="420"/>
                    </a:lnTo>
                    <a:lnTo>
                      <a:pt x="532" y="411"/>
                    </a:lnTo>
                    <a:lnTo>
                      <a:pt x="582" y="390"/>
                    </a:lnTo>
                    <a:lnTo>
                      <a:pt x="627" y="378"/>
                    </a:lnTo>
                    <a:lnTo>
                      <a:pt x="703" y="380"/>
                    </a:lnTo>
                    <a:lnTo>
                      <a:pt x="759" y="419"/>
                    </a:lnTo>
                    <a:lnTo>
                      <a:pt x="797" y="492"/>
                    </a:lnTo>
                    <a:lnTo>
                      <a:pt x="922" y="500"/>
                    </a:lnTo>
                    <a:lnTo>
                      <a:pt x="983" y="493"/>
                    </a:lnTo>
                    <a:lnTo>
                      <a:pt x="1034" y="457"/>
                    </a:lnTo>
                    <a:lnTo>
                      <a:pt x="1099" y="393"/>
                    </a:lnTo>
                    <a:lnTo>
                      <a:pt x="1169" y="328"/>
                    </a:lnTo>
                    <a:lnTo>
                      <a:pt x="1235" y="262"/>
                    </a:lnTo>
                    <a:lnTo>
                      <a:pt x="1290" y="193"/>
                    </a:lnTo>
                    <a:lnTo>
                      <a:pt x="1332" y="143"/>
                    </a:lnTo>
                    <a:lnTo>
                      <a:pt x="852" y="248"/>
                    </a:lnTo>
                    <a:lnTo>
                      <a:pt x="838" y="218"/>
                    </a:lnTo>
                    <a:lnTo>
                      <a:pt x="881" y="203"/>
                    </a:lnTo>
                    <a:lnTo>
                      <a:pt x="957" y="176"/>
                    </a:lnTo>
                    <a:lnTo>
                      <a:pt x="1061" y="157"/>
                    </a:lnTo>
                    <a:lnTo>
                      <a:pt x="1172" y="121"/>
                    </a:lnTo>
                    <a:lnTo>
                      <a:pt x="1274" y="103"/>
                    </a:lnTo>
                    <a:lnTo>
                      <a:pt x="1356" y="76"/>
                    </a:lnTo>
                    <a:lnTo>
                      <a:pt x="1424" y="55"/>
                    </a:lnTo>
                    <a:lnTo>
                      <a:pt x="1471" y="0"/>
                    </a:lnTo>
                    <a:lnTo>
                      <a:pt x="1505" y="26"/>
                    </a:lnTo>
                    <a:lnTo>
                      <a:pt x="1543" y="52"/>
                    </a:lnTo>
                    <a:lnTo>
                      <a:pt x="1490" y="103"/>
                    </a:lnTo>
                    <a:lnTo>
                      <a:pt x="1435" y="158"/>
                    </a:lnTo>
                    <a:lnTo>
                      <a:pt x="1378" y="215"/>
                    </a:lnTo>
                    <a:lnTo>
                      <a:pt x="1327" y="270"/>
                    </a:lnTo>
                    <a:lnTo>
                      <a:pt x="1327" y="277"/>
                    </a:lnTo>
                    <a:lnTo>
                      <a:pt x="1367" y="332"/>
                    </a:lnTo>
                    <a:lnTo>
                      <a:pt x="1402" y="397"/>
                    </a:lnTo>
                    <a:lnTo>
                      <a:pt x="1632" y="182"/>
                    </a:lnTo>
                    <a:lnTo>
                      <a:pt x="1646" y="231"/>
                    </a:lnTo>
                    <a:lnTo>
                      <a:pt x="1609" y="278"/>
                    </a:lnTo>
                    <a:lnTo>
                      <a:pt x="1574" y="320"/>
                    </a:lnTo>
                    <a:lnTo>
                      <a:pt x="1519" y="389"/>
                    </a:lnTo>
                    <a:lnTo>
                      <a:pt x="1452" y="497"/>
                    </a:lnTo>
                    <a:lnTo>
                      <a:pt x="1431" y="602"/>
                    </a:lnTo>
                    <a:lnTo>
                      <a:pt x="1443" y="752"/>
                    </a:lnTo>
                    <a:lnTo>
                      <a:pt x="1822" y="766"/>
                    </a:lnTo>
                    <a:lnTo>
                      <a:pt x="1820" y="816"/>
                    </a:lnTo>
                    <a:lnTo>
                      <a:pt x="1620" y="843"/>
                    </a:lnTo>
                    <a:lnTo>
                      <a:pt x="1418" y="872"/>
                    </a:lnTo>
                    <a:lnTo>
                      <a:pt x="1494" y="923"/>
                    </a:lnTo>
                    <a:lnTo>
                      <a:pt x="1656" y="904"/>
                    </a:lnTo>
                    <a:lnTo>
                      <a:pt x="1755" y="879"/>
                    </a:lnTo>
                    <a:lnTo>
                      <a:pt x="1824" y="863"/>
                    </a:lnTo>
                    <a:lnTo>
                      <a:pt x="1822" y="914"/>
                    </a:lnTo>
                    <a:lnTo>
                      <a:pt x="1753" y="936"/>
                    </a:lnTo>
                    <a:lnTo>
                      <a:pt x="1680" y="962"/>
                    </a:lnTo>
                    <a:lnTo>
                      <a:pt x="1606" y="982"/>
                    </a:lnTo>
                    <a:lnTo>
                      <a:pt x="1536" y="995"/>
                    </a:lnTo>
                    <a:lnTo>
                      <a:pt x="1474" y="952"/>
                    </a:lnTo>
                    <a:lnTo>
                      <a:pt x="990" y="655"/>
                    </a:lnTo>
                    <a:lnTo>
                      <a:pt x="1006" y="635"/>
                    </a:lnTo>
                    <a:lnTo>
                      <a:pt x="1257" y="609"/>
                    </a:lnTo>
                    <a:lnTo>
                      <a:pt x="1292" y="502"/>
                    </a:lnTo>
                    <a:lnTo>
                      <a:pt x="1337" y="506"/>
                    </a:lnTo>
                    <a:lnTo>
                      <a:pt x="1325" y="573"/>
                    </a:lnTo>
                    <a:lnTo>
                      <a:pt x="1300" y="639"/>
                    </a:lnTo>
                    <a:lnTo>
                      <a:pt x="1270" y="701"/>
                    </a:lnTo>
                    <a:lnTo>
                      <a:pt x="1238" y="761"/>
                    </a:lnTo>
                    <a:lnTo>
                      <a:pt x="1283" y="783"/>
                    </a:lnTo>
                    <a:lnTo>
                      <a:pt x="1355" y="663"/>
                    </a:lnTo>
                    <a:lnTo>
                      <a:pt x="1377" y="522"/>
                    </a:lnTo>
                    <a:lnTo>
                      <a:pt x="1372" y="434"/>
                    </a:lnTo>
                    <a:lnTo>
                      <a:pt x="1345" y="346"/>
                    </a:lnTo>
                    <a:lnTo>
                      <a:pt x="1337" y="485"/>
                    </a:lnTo>
                    <a:lnTo>
                      <a:pt x="1296" y="485"/>
                    </a:lnTo>
                    <a:lnTo>
                      <a:pt x="1303" y="395"/>
                    </a:lnTo>
                    <a:lnTo>
                      <a:pt x="1296" y="306"/>
                    </a:lnTo>
                    <a:lnTo>
                      <a:pt x="1292" y="306"/>
                    </a:lnTo>
                    <a:lnTo>
                      <a:pt x="1101" y="496"/>
                    </a:lnTo>
                    <a:lnTo>
                      <a:pt x="1274" y="496"/>
                    </a:lnTo>
                    <a:lnTo>
                      <a:pt x="1260" y="542"/>
                    </a:lnTo>
                    <a:lnTo>
                      <a:pt x="841" y="544"/>
                    </a:lnTo>
                    <a:lnTo>
                      <a:pt x="998" y="630"/>
                    </a:lnTo>
                    <a:lnTo>
                      <a:pt x="983" y="650"/>
                    </a:lnTo>
                    <a:lnTo>
                      <a:pt x="897" y="612"/>
                    </a:lnTo>
                    <a:lnTo>
                      <a:pt x="856" y="584"/>
                    </a:lnTo>
                    <a:lnTo>
                      <a:pt x="817" y="558"/>
                    </a:lnTo>
                    <a:lnTo>
                      <a:pt x="784" y="532"/>
                    </a:lnTo>
                    <a:lnTo>
                      <a:pt x="768" y="491"/>
                    </a:lnTo>
                    <a:lnTo>
                      <a:pt x="750" y="449"/>
                    </a:lnTo>
                    <a:lnTo>
                      <a:pt x="735" y="433"/>
                    </a:lnTo>
                    <a:lnTo>
                      <a:pt x="713" y="422"/>
                    </a:lnTo>
                    <a:lnTo>
                      <a:pt x="620" y="431"/>
                    </a:lnTo>
                    <a:lnTo>
                      <a:pt x="561" y="499"/>
                    </a:lnTo>
                    <a:lnTo>
                      <a:pt x="525" y="485"/>
                    </a:lnTo>
                    <a:lnTo>
                      <a:pt x="532" y="455"/>
                    </a:lnTo>
                    <a:lnTo>
                      <a:pt x="509" y="459"/>
                    </a:lnTo>
                    <a:lnTo>
                      <a:pt x="492" y="478"/>
                    </a:lnTo>
                    <a:lnTo>
                      <a:pt x="482" y="521"/>
                    </a:lnTo>
                    <a:lnTo>
                      <a:pt x="498" y="532"/>
                    </a:lnTo>
                    <a:lnTo>
                      <a:pt x="520" y="496"/>
                    </a:lnTo>
                    <a:lnTo>
                      <a:pt x="560" y="518"/>
                    </a:lnTo>
                    <a:lnTo>
                      <a:pt x="543" y="579"/>
                    </a:lnTo>
                    <a:lnTo>
                      <a:pt x="564" y="638"/>
                    </a:lnTo>
                    <a:lnTo>
                      <a:pt x="595" y="667"/>
                    </a:lnTo>
                    <a:lnTo>
                      <a:pt x="635" y="681"/>
                    </a:lnTo>
                    <a:lnTo>
                      <a:pt x="733" y="659"/>
                    </a:lnTo>
                    <a:lnTo>
                      <a:pt x="757" y="641"/>
                    </a:lnTo>
                    <a:lnTo>
                      <a:pt x="783" y="645"/>
                    </a:lnTo>
                    <a:lnTo>
                      <a:pt x="1132" y="832"/>
                    </a:lnTo>
                    <a:lnTo>
                      <a:pt x="1103" y="853"/>
                    </a:lnTo>
                    <a:lnTo>
                      <a:pt x="1068" y="863"/>
                    </a:lnTo>
                    <a:lnTo>
                      <a:pt x="910" y="798"/>
                    </a:lnTo>
                    <a:lnTo>
                      <a:pt x="838" y="885"/>
                    </a:lnTo>
                    <a:lnTo>
                      <a:pt x="805" y="936"/>
                    </a:lnTo>
                    <a:lnTo>
                      <a:pt x="772" y="985"/>
                    </a:lnTo>
                    <a:lnTo>
                      <a:pt x="775" y="988"/>
                    </a:lnTo>
                    <a:lnTo>
                      <a:pt x="839" y="978"/>
                    </a:lnTo>
                    <a:lnTo>
                      <a:pt x="806" y="1046"/>
                    </a:lnTo>
                    <a:lnTo>
                      <a:pt x="622" y="1107"/>
                    </a:lnTo>
                    <a:lnTo>
                      <a:pt x="612" y="1115"/>
                    </a:lnTo>
                    <a:lnTo>
                      <a:pt x="609" y="1178"/>
                    </a:lnTo>
                    <a:lnTo>
                      <a:pt x="551" y="1195"/>
                    </a:lnTo>
                    <a:lnTo>
                      <a:pt x="543" y="1129"/>
                    </a:lnTo>
                    <a:lnTo>
                      <a:pt x="496" y="1137"/>
                    </a:lnTo>
                    <a:lnTo>
                      <a:pt x="498" y="1200"/>
                    </a:lnTo>
                    <a:lnTo>
                      <a:pt x="455" y="1211"/>
                    </a:lnTo>
                    <a:lnTo>
                      <a:pt x="442" y="1166"/>
                    </a:lnTo>
                    <a:lnTo>
                      <a:pt x="379" y="1188"/>
                    </a:lnTo>
                    <a:lnTo>
                      <a:pt x="379" y="1213"/>
                    </a:lnTo>
                    <a:lnTo>
                      <a:pt x="393" y="1222"/>
                    </a:lnTo>
                    <a:lnTo>
                      <a:pt x="342" y="1229"/>
                    </a:lnTo>
                    <a:lnTo>
                      <a:pt x="294" y="1151"/>
                    </a:lnTo>
                    <a:lnTo>
                      <a:pt x="267" y="1111"/>
                    </a:lnTo>
                    <a:lnTo>
                      <a:pt x="241" y="1069"/>
                    </a:lnTo>
                    <a:lnTo>
                      <a:pt x="214" y="1027"/>
                    </a:lnTo>
                    <a:lnTo>
                      <a:pt x="186" y="984"/>
                    </a:lnTo>
                    <a:lnTo>
                      <a:pt x="132" y="898"/>
                    </a:lnTo>
                    <a:lnTo>
                      <a:pt x="84" y="809"/>
                    </a:lnTo>
                    <a:lnTo>
                      <a:pt x="44" y="719"/>
                    </a:lnTo>
                    <a:lnTo>
                      <a:pt x="0" y="53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" name="Freeform 474"/>
              <p:cNvSpPr>
                <a:spLocks/>
              </p:cNvSpPr>
              <p:nvPr/>
            </p:nvSpPr>
            <p:spPr bwMode="auto">
              <a:xfrm>
                <a:off x="5180" y="1868"/>
                <a:ext cx="24" cy="49"/>
              </a:xfrm>
              <a:custGeom>
                <a:avLst/>
                <a:gdLst>
                  <a:gd name="T0" fmla="*/ 5 w 72"/>
                  <a:gd name="T1" fmla="*/ 147 h 147"/>
                  <a:gd name="T2" fmla="*/ 0 w 72"/>
                  <a:gd name="T3" fmla="*/ 0 h 147"/>
                  <a:gd name="T4" fmla="*/ 68 w 72"/>
                  <a:gd name="T5" fmla="*/ 1 h 147"/>
                  <a:gd name="T6" fmla="*/ 72 w 72"/>
                  <a:gd name="T7" fmla="*/ 123 h 147"/>
                  <a:gd name="T8" fmla="*/ 5 w 72"/>
                  <a:gd name="T9" fmla="*/ 147 h 147"/>
                  <a:gd name="T10" fmla="*/ 5 w 72"/>
                  <a:gd name="T11" fmla="*/ 147 h 14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2"/>
                  <a:gd name="T19" fmla="*/ 0 h 147"/>
                  <a:gd name="T20" fmla="*/ 72 w 72"/>
                  <a:gd name="T21" fmla="*/ 147 h 14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2" h="147">
                    <a:moveTo>
                      <a:pt x="5" y="147"/>
                    </a:moveTo>
                    <a:lnTo>
                      <a:pt x="0" y="0"/>
                    </a:lnTo>
                    <a:lnTo>
                      <a:pt x="68" y="1"/>
                    </a:lnTo>
                    <a:lnTo>
                      <a:pt x="72" y="123"/>
                    </a:lnTo>
                    <a:lnTo>
                      <a:pt x="5" y="14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4" name="Freeform 475"/>
              <p:cNvSpPr>
                <a:spLocks/>
              </p:cNvSpPr>
              <p:nvPr/>
            </p:nvSpPr>
            <p:spPr bwMode="auto">
              <a:xfrm>
                <a:off x="5048" y="1626"/>
                <a:ext cx="251" cy="284"/>
              </a:xfrm>
              <a:custGeom>
                <a:avLst/>
                <a:gdLst>
                  <a:gd name="T0" fmla="*/ 456 w 753"/>
                  <a:gd name="T1" fmla="*/ 794 h 852"/>
                  <a:gd name="T2" fmla="*/ 527 w 753"/>
                  <a:gd name="T3" fmla="*/ 769 h 852"/>
                  <a:gd name="T4" fmla="*/ 449 w 753"/>
                  <a:gd name="T5" fmla="*/ 764 h 852"/>
                  <a:gd name="T6" fmla="*/ 449 w 753"/>
                  <a:gd name="T7" fmla="*/ 729 h 852"/>
                  <a:gd name="T8" fmla="*/ 538 w 753"/>
                  <a:gd name="T9" fmla="*/ 728 h 852"/>
                  <a:gd name="T10" fmla="*/ 616 w 753"/>
                  <a:gd name="T11" fmla="*/ 692 h 852"/>
                  <a:gd name="T12" fmla="*/ 582 w 753"/>
                  <a:gd name="T13" fmla="*/ 610 h 852"/>
                  <a:gd name="T14" fmla="*/ 536 w 753"/>
                  <a:gd name="T15" fmla="*/ 534 h 852"/>
                  <a:gd name="T16" fmla="*/ 274 w 753"/>
                  <a:gd name="T17" fmla="*/ 570 h 852"/>
                  <a:gd name="T18" fmla="*/ 14 w 753"/>
                  <a:gd name="T19" fmla="*/ 612 h 852"/>
                  <a:gd name="T20" fmla="*/ 0 w 753"/>
                  <a:gd name="T21" fmla="*/ 556 h 852"/>
                  <a:gd name="T22" fmla="*/ 517 w 753"/>
                  <a:gd name="T23" fmla="*/ 498 h 852"/>
                  <a:gd name="T24" fmla="*/ 0 w 753"/>
                  <a:gd name="T25" fmla="*/ 499 h 852"/>
                  <a:gd name="T26" fmla="*/ 18 w 753"/>
                  <a:gd name="T27" fmla="*/ 465 h 852"/>
                  <a:gd name="T28" fmla="*/ 489 w 753"/>
                  <a:gd name="T29" fmla="*/ 463 h 852"/>
                  <a:gd name="T30" fmla="*/ 459 w 753"/>
                  <a:gd name="T31" fmla="*/ 411 h 852"/>
                  <a:gd name="T32" fmla="*/ 420 w 753"/>
                  <a:gd name="T33" fmla="*/ 371 h 852"/>
                  <a:gd name="T34" fmla="*/ 376 w 753"/>
                  <a:gd name="T35" fmla="*/ 326 h 852"/>
                  <a:gd name="T36" fmla="*/ 328 w 753"/>
                  <a:gd name="T37" fmla="*/ 282 h 852"/>
                  <a:gd name="T38" fmla="*/ 284 w 753"/>
                  <a:gd name="T39" fmla="*/ 242 h 852"/>
                  <a:gd name="T40" fmla="*/ 229 w 753"/>
                  <a:gd name="T41" fmla="*/ 195 h 852"/>
                  <a:gd name="T42" fmla="*/ 222 w 753"/>
                  <a:gd name="T43" fmla="*/ 192 h 852"/>
                  <a:gd name="T44" fmla="*/ 205 w 753"/>
                  <a:gd name="T45" fmla="*/ 151 h 852"/>
                  <a:gd name="T46" fmla="*/ 338 w 753"/>
                  <a:gd name="T47" fmla="*/ 0 h 852"/>
                  <a:gd name="T48" fmla="*/ 402 w 753"/>
                  <a:gd name="T49" fmla="*/ 71 h 852"/>
                  <a:gd name="T50" fmla="*/ 442 w 753"/>
                  <a:gd name="T51" fmla="*/ 131 h 852"/>
                  <a:gd name="T52" fmla="*/ 484 w 753"/>
                  <a:gd name="T53" fmla="*/ 200 h 852"/>
                  <a:gd name="T54" fmla="*/ 525 w 753"/>
                  <a:gd name="T55" fmla="*/ 275 h 852"/>
                  <a:gd name="T56" fmla="*/ 562 w 753"/>
                  <a:gd name="T57" fmla="*/ 344 h 852"/>
                  <a:gd name="T58" fmla="*/ 594 w 753"/>
                  <a:gd name="T59" fmla="*/ 404 h 852"/>
                  <a:gd name="T60" fmla="*/ 619 w 753"/>
                  <a:gd name="T61" fmla="*/ 450 h 852"/>
                  <a:gd name="T62" fmla="*/ 753 w 753"/>
                  <a:gd name="T63" fmla="*/ 476 h 852"/>
                  <a:gd name="T64" fmla="*/ 675 w 753"/>
                  <a:gd name="T65" fmla="*/ 520 h 852"/>
                  <a:gd name="T66" fmla="*/ 749 w 753"/>
                  <a:gd name="T67" fmla="*/ 712 h 852"/>
                  <a:gd name="T68" fmla="*/ 720 w 753"/>
                  <a:gd name="T69" fmla="*/ 732 h 852"/>
                  <a:gd name="T70" fmla="*/ 684 w 753"/>
                  <a:gd name="T71" fmla="*/ 750 h 852"/>
                  <a:gd name="T72" fmla="*/ 607 w 753"/>
                  <a:gd name="T73" fmla="*/ 782 h 852"/>
                  <a:gd name="T74" fmla="*/ 460 w 753"/>
                  <a:gd name="T75" fmla="*/ 852 h 852"/>
                  <a:gd name="T76" fmla="*/ 456 w 753"/>
                  <a:gd name="T77" fmla="*/ 794 h 852"/>
                  <a:gd name="T78" fmla="*/ 456 w 753"/>
                  <a:gd name="T79" fmla="*/ 794 h 85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753"/>
                  <a:gd name="T121" fmla="*/ 0 h 852"/>
                  <a:gd name="T122" fmla="*/ 753 w 753"/>
                  <a:gd name="T123" fmla="*/ 852 h 85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753" h="852">
                    <a:moveTo>
                      <a:pt x="456" y="794"/>
                    </a:moveTo>
                    <a:lnTo>
                      <a:pt x="527" y="769"/>
                    </a:lnTo>
                    <a:lnTo>
                      <a:pt x="449" y="764"/>
                    </a:lnTo>
                    <a:lnTo>
                      <a:pt x="449" y="729"/>
                    </a:lnTo>
                    <a:lnTo>
                      <a:pt x="538" y="728"/>
                    </a:lnTo>
                    <a:lnTo>
                      <a:pt x="616" y="692"/>
                    </a:lnTo>
                    <a:lnTo>
                      <a:pt x="582" y="610"/>
                    </a:lnTo>
                    <a:lnTo>
                      <a:pt x="536" y="534"/>
                    </a:lnTo>
                    <a:lnTo>
                      <a:pt x="274" y="570"/>
                    </a:lnTo>
                    <a:lnTo>
                      <a:pt x="14" y="612"/>
                    </a:lnTo>
                    <a:lnTo>
                      <a:pt x="0" y="556"/>
                    </a:lnTo>
                    <a:lnTo>
                      <a:pt x="517" y="498"/>
                    </a:lnTo>
                    <a:lnTo>
                      <a:pt x="0" y="499"/>
                    </a:lnTo>
                    <a:lnTo>
                      <a:pt x="18" y="465"/>
                    </a:lnTo>
                    <a:lnTo>
                      <a:pt x="489" y="463"/>
                    </a:lnTo>
                    <a:lnTo>
                      <a:pt x="459" y="411"/>
                    </a:lnTo>
                    <a:lnTo>
                      <a:pt x="420" y="371"/>
                    </a:lnTo>
                    <a:lnTo>
                      <a:pt x="376" y="326"/>
                    </a:lnTo>
                    <a:lnTo>
                      <a:pt x="328" y="282"/>
                    </a:lnTo>
                    <a:lnTo>
                      <a:pt x="284" y="242"/>
                    </a:lnTo>
                    <a:lnTo>
                      <a:pt x="229" y="195"/>
                    </a:lnTo>
                    <a:lnTo>
                      <a:pt x="222" y="192"/>
                    </a:lnTo>
                    <a:lnTo>
                      <a:pt x="205" y="151"/>
                    </a:lnTo>
                    <a:lnTo>
                      <a:pt x="338" y="0"/>
                    </a:lnTo>
                    <a:lnTo>
                      <a:pt x="402" y="71"/>
                    </a:lnTo>
                    <a:lnTo>
                      <a:pt x="442" y="131"/>
                    </a:lnTo>
                    <a:lnTo>
                      <a:pt x="484" y="200"/>
                    </a:lnTo>
                    <a:lnTo>
                      <a:pt x="525" y="275"/>
                    </a:lnTo>
                    <a:lnTo>
                      <a:pt x="562" y="344"/>
                    </a:lnTo>
                    <a:lnTo>
                      <a:pt x="594" y="404"/>
                    </a:lnTo>
                    <a:lnTo>
                      <a:pt x="619" y="450"/>
                    </a:lnTo>
                    <a:lnTo>
                      <a:pt x="753" y="476"/>
                    </a:lnTo>
                    <a:lnTo>
                      <a:pt x="675" y="520"/>
                    </a:lnTo>
                    <a:lnTo>
                      <a:pt x="749" y="712"/>
                    </a:lnTo>
                    <a:lnTo>
                      <a:pt x="720" y="732"/>
                    </a:lnTo>
                    <a:lnTo>
                      <a:pt x="684" y="750"/>
                    </a:lnTo>
                    <a:lnTo>
                      <a:pt x="607" y="782"/>
                    </a:lnTo>
                    <a:lnTo>
                      <a:pt x="460" y="852"/>
                    </a:lnTo>
                    <a:lnTo>
                      <a:pt x="456" y="79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5" name="Freeform 476"/>
              <p:cNvSpPr>
                <a:spLocks/>
              </p:cNvSpPr>
              <p:nvPr/>
            </p:nvSpPr>
            <p:spPr bwMode="auto">
              <a:xfrm>
                <a:off x="5268" y="1594"/>
                <a:ext cx="123" cy="289"/>
              </a:xfrm>
              <a:custGeom>
                <a:avLst/>
                <a:gdLst>
                  <a:gd name="T0" fmla="*/ 0 w 369"/>
                  <a:gd name="T1" fmla="*/ 310 h 867"/>
                  <a:gd name="T2" fmla="*/ 18 w 369"/>
                  <a:gd name="T3" fmla="*/ 287 h 867"/>
                  <a:gd name="T4" fmla="*/ 34 w 369"/>
                  <a:gd name="T5" fmla="*/ 322 h 867"/>
                  <a:gd name="T6" fmla="*/ 263 w 369"/>
                  <a:gd name="T7" fmla="*/ 54 h 867"/>
                  <a:gd name="T8" fmla="*/ 307 w 369"/>
                  <a:gd name="T9" fmla="*/ 26 h 867"/>
                  <a:gd name="T10" fmla="*/ 369 w 369"/>
                  <a:gd name="T11" fmla="*/ 0 h 867"/>
                  <a:gd name="T12" fmla="*/ 113 w 369"/>
                  <a:gd name="T13" fmla="*/ 430 h 867"/>
                  <a:gd name="T14" fmla="*/ 138 w 369"/>
                  <a:gd name="T15" fmla="*/ 480 h 867"/>
                  <a:gd name="T16" fmla="*/ 165 w 369"/>
                  <a:gd name="T17" fmla="*/ 532 h 867"/>
                  <a:gd name="T18" fmla="*/ 194 w 369"/>
                  <a:gd name="T19" fmla="*/ 587 h 867"/>
                  <a:gd name="T20" fmla="*/ 223 w 369"/>
                  <a:gd name="T21" fmla="*/ 642 h 867"/>
                  <a:gd name="T22" fmla="*/ 251 w 369"/>
                  <a:gd name="T23" fmla="*/ 697 h 867"/>
                  <a:gd name="T24" fmla="*/ 278 w 369"/>
                  <a:gd name="T25" fmla="*/ 752 h 867"/>
                  <a:gd name="T26" fmla="*/ 328 w 369"/>
                  <a:gd name="T27" fmla="*/ 857 h 867"/>
                  <a:gd name="T28" fmla="*/ 293 w 369"/>
                  <a:gd name="T29" fmla="*/ 867 h 867"/>
                  <a:gd name="T30" fmla="*/ 249 w 369"/>
                  <a:gd name="T31" fmla="*/ 783 h 867"/>
                  <a:gd name="T32" fmla="*/ 204 w 369"/>
                  <a:gd name="T33" fmla="*/ 697 h 867"/>
                  <a:gd name="T34" fmla="*/ 178 w 369"/>
                  <a:gd name="T35" fmla="*/ 648 h 867"/>
                  <a:gd name="T36" fmla="*/ 151 w 369"/>
                  <a:gd name="T37" fmla="*/ 597 h 867"/>
                  <a:gd name="T38" fmla="*/ 125 w 369"/>
                  <a:gd name="T39" fmla="*/ 546 h 867"/>
                  <a:gd name="T40" fmla="*/ 99 w 369"/>
                  <a:gd name="T41" fmla="*/ 496 h 867"/>
                  <a:gd name="T42" fmla="*/ 52 w 369"/>
                  <a:gd name="T43" fmla="*/ 407 h 867"/>
                  <a:gd name="T44" fmla="*/ 16 w 369"/>
                  <a:gd name="T45" fmla="*/ 342 h 867"/>
                  <a:gd name="T46" fmla="*/ 0 w 369"/>
                  <a:gd name="T47" fmla="*/ 310 h 867"/>
                  <a:gd name="T48" fmla="*/ 0 w 369"/>
                  <a:gd name="T49" fmla="*/ 310 h 8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69"/>
                  <a:gd name="T76" fmla="*/ 0 h 867"/>
                  <a:gd name="T77" fmla="*/ 369 w 369"/>
                  <a:gd name="T78" fmla="*/ 867 h 86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69" h="867">
                    <a:moveTo>
                      <a:pt x="0" y="310"/>
                    </a:moveTo>
                    <a:lnTo>
                      <a:pt x="18" y="287"/>
                    </a:lnTo>
                    <a:lnTo>
                      <a:pt x="34" y="322"/>
                    </a:lnTo>
                    <a:lnTo>
                      <a:pt x="263" y="54"/>
                    </a:lnTo>
                    <a:lnTo>
                      <a:pt x="307" y="26"/>
                    </a:lnTo>
                    <a:lnTo>
                      <a:pt x="369" y="0"/>
                    </a:lnTo>
                    <a:lnTo>
                      <a:pt x="113" y="430"/>
                    </a:lnTo>
                    <a:lnTo>
                      <a:pt x="138" y="480"/>
                    </a:lnTo>
                    <a:lnTo>
                      <a:pt x="165" y="532"/>
                    </a:lnTo>
                    <a:lnTo>
                      <a:pt x="194" y="587"/>
                    </a:lnTo>
                    <a:lnTo>
                      <a:pt x="223" y="642"/>
                    </a:lnTo>
                    <a:lnTo>
                      <a:pt x="251" y="697"/>
                    </a:lnTo>
                    <a:lnTo>
                      <a:pt x="278" y="752"/>
                    </a:lnTo>
                    <a:lnTo>
                      <a:pt x="328" y="857"/>
                    </a:lnTo>
                    <a:lnTo>
                      <a:pt x="293" y="867"/>
                    </a:lnTo>
                    <a:lnTo>
                      <a:pt x="249" y="783"/>
                    </a:lnTo>
                    <a:lnTo>
                      <a:pt x="204" y="697"/>
                    </a:lnTo>
                    <a:lnTo>
                      <a:pt x="178" y="648"/>
                    </a:lnTo>
                    <a:lnTo>
                      <a:pt x="151" y="597"/>
                    </a:lnTo>
                    <a:lnTo>
                      <a:pt x="125" y="546"/>
                    </a:lnTo>
                    <a:lnTo>
                      <a:pt x="99" y="496"/>
                    </a:lnTo>
                    <a:lnTo>
                      <a:pt x="52" y="407"/>
                    </a:lnTo>
                    <a:lnTo>
                      <a:pt x="16" y="342"/>
                    </a:lnTo>
                    <a:lnTo>
                      <a:pt x="0" y="3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6" name="Freeform 477"/>
              <p:cNvSpPr>
                <a:spLocks/>
              </p:cNvSpPr>
              <p:nvPr/>
            </p:nvSpPr>
            <p:spPr bwMode="auto">
              <a:xfrm>
                <a:off x="4774" y="1769"/>
                <a:ext cx="42" cy="44"/>
              </a:xfrm>
              <a:custGeom>
                <a:avLst/>
                <a:gdLst>
                  <a:gd name="T0" fmla="*/ 0 w 127"/>
                  <a:gd name="T1" fmla="*/ 88 h 131"/>
                  <a:gd name="T2" fmla="*/ 11 w 127"/>
                  <a:gd name="T3" fmla="*/ 34 h 131"/>
                  <a:gd name="T4" fmla="*/ 50 w 127"/>
                  <a:gd name="T5" fmla="*/ 3 h 131"/>
                  <a:gd name="T6" fmla="*/ 95 w 127"/>
                  <a:gd name="T7" fmla="*/ 0 h 131"/>
                  <a:gd name="T8" fmla="*/ 127 w 127"/>
                  <a:gd name="T9" fmla="*/ 34 h 131"/>
                  <a:gd name="T10" fmla="*/ 119 w 127"/>
                  <a:gd name="T11" fmla="*/ 96 h 131"/>
                  <a:gd name="T12" fmla="*/ 77 w 127"/>
                  <a:gd name="T13" fmla="*/ 131 h 131"/>
                  <a:gd name="T14" fmla="*/ 29 w 127"/>
                  <a:gd name="T15" fmla="*/ 130 h 131"/>
                  <a:gd name="T16" fmla="*/ 0 w 127"/>
                  <a:gd name="T17" fmla="*/ 88 h 131"/>
                  <a:gd name="T18" fmla="*/ 0 w 127"/>
                  <a:gd name="T19" fmla="*/ 88 h 1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7"/>
                  <a:gd name="T31" fmla="*/ 0 h 131"/>
                  <a:gd name="T32" fmla="*/ 127 w 127"/>
                  <a:gd name="T33" fmla="*/ 131 h 1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7" h="131">
                    <a:moveTo>
                      <a:pt x="0" y="88"/>
                    </a:moveTo>
                    <a:lnTo>
                      <a:pt x="11" y="34"/>
                    </a:lnTo>
                    <a:lnTo>
                      <a:pt x="50" y="3"/>
                    </a:lnTo>
                    <a:lnTo>
                      <a:pt x="95" y="0"/>
                    </a:lnTo>
                    <a:lnTo>
                      <a:pt x="127" y="34"/>
                    </a:lnTo>
                    <a:lnTo>
                      <a:pt x="119" y="96"/>
                    </a:lnTo>
                    <a:lnTo>
                      <a:pt x="77" y="131"/>
                    </a:lnTo>
                    <a:lnTo>
                      <a:pt x="29" y="13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7" name="Freeform 478"/>
              <p:cNvSpPr>
                <a:spLocks/>
              </p:cNvSpPr>
              <p:nvPr/>
            </p:nvSpPr>
            <p:spPr bwMode="auto">
              <a:xfrm>
                <a:off x="4572" y="1615"/>
                <a:ext cx="135" cy="181"/>
              </a:xfrm>
              <a:custGeom>
                <a:avLst/>
                <a:gdLst>
                  <a:gd name="T0" fmla="*/ 217 w 404"/>
                  <a:gd name="T1" fmla="*/ 131 h 543"/>
                  <a:gd name="T2" fmla="*/ 167 w 404"/>
                  <a:gd name="T3" fmla="*/ 156 h 543"/>
                  <a:gd name="T4" fmla="*/ 125 w 404"/>
                  <a:gd name="T5" fmla="*/ 191 h 543"/>
                  <a:gd name="T6" fmla="*/ 82 w 404"/>
                  <a:gd name="T7" fmla="*/ 268 h 543"/>
                  <a:gd name="T8" fmla="*/ 64 w 404"/>
                  <a:gd name="T9" fmla="*/ 356 h 543"/>
                  <a:gd name="T10" fmla="*/ 67 w 404"/>
                  <a:gd name="T11" fmla="*/ 536 h 543"/>
                  <a:gd name="T12" fmla="*/ 16 w 404"/>
                  <a:gd name="T13" fmla="*/ 543 h 543"/>
                  <a:gd name="T14" fmla="*/ 0 w 404"/>
                  <a:gd name="T15" fmla="*/ 430 h 543"/>
                  <a:gd name="T16" fmla="*/ 13 w 404"/>
                  <a:gd name="T17" fmla="*/ 313 h 543"/>
                  <a:gd name="T18" fmla="*/ 75 w 404"/>
                  <a:gd name="T19" fmla="*/ 140 h 543"/>
                  <a:gd name="T20" fmla="*/ 200 w 404"/>
                  <a:gd name="T21" fmla="*/ 67 h 543"/>
                  <a:gd name="T22" fmla="*/ 404 w 404"/>
                  <a:gd name="T23" fmla="*/ 0 h 543"/>
                  <a:gd name="T24" fmla="*/ 217 w 404"/>
                  <a:gd name="T25" fmla="*/ 131 h 543"/>
                  <a:gd name="T26" fmla="*/ 217 w 404"/>
                  <a:gd name="T27" fmla="*/ 131 h 54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4"/>
                  <a:gd name="T43" fmla="*/ 0 h 543"/>
                  <a:gd name="T44" fmla="*/ 404 w 404"/>
                  <a:gd name="T45" fmla="*/ 543 h 54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4" h="543">
                    <a:moveTo>
                      <a:pt x="217" y="131"/>
                    </a:moveTo>
                    <a:lnTo>
                      <a:pt x="167" y="156"/>
                    </a:lnTo>
                    <a:lnTo>
                      <a:pt x="125" y="191"/>
                    </a:lnTo>
                    <a:lnTo>
                      <a:pt x="82" y="268"/>
                    </a:lnTo>
                    <a:lnTo>
                      <a:pt x="64" y="356"/>
                    </a:lnTo>
                    <a:lnTo>
                      <a:pt x="67" y="536"/>
                    </a:lnTo>
                    <a:lnTo>
                      <a:pt x="16" y="543"/>
                    </a:lnTo>
                    <a:lnTo>
                      <a:pt x="0" y="430"/>
                    </a:lnTo>
                    <a:lnTo>
                      <a:pt x="13" y="313"/>
                    </a:lnTo>
                    <a:lnTo>
                      <a:pt x="75" y="140"/>
                    </a:lnTo>
                    <a:lnTo>
                      <a:pt x="200" y="67"/>
                    </a:lnTo>
                    <a:lnTo>
                      <a:pt x="404" y="0"/>
                    </a:lnTo>
                    <a:lnTo>
                      <a:pt x="217" y="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" name="Freeform 479"/>
              <p:cNvSpPr>
                <a:spLocks/>
              </p:cNvSpPr>
              <p:nvPr/>
            </p:nvSpPr>
            <p:spPr bwMode="auto">
              <a:xfrm>
                <a:off x="5089" y="1525"/>
                <a:ext cx="192" cy="180"/>
              </a:xfrm>
              <a:custGeom>
                <a:avLst/>
                <a:gdLst>
                  <a:gd name="T0" fmla="*/ 238 w 576"/>
                  <a:gd name="T1" fmla="*/ 42 h 542"/>
                  <a:gd name="T2" fmla="*/ 304 w 576"/>
                  <a:gd name="T3" fmla="*/ 0 h 542"/>
                  <a:gd name="T4" fmla="*/ 576 w 576"/>
                  <a:gd name="T5" fmla="*/ 518 h 542"/>
                  <a:gd name="T6" fmla="*/ 559 w 576"/>
                  <a:gd name="T7" fmla="*/ 542 h 542"/>
                  <a:gd name="T8" fmla="*/ 515 w 576"/>
                  <a:gd name="T9" fmla="*/ 479 h 542"/>
                  <a:gd name="T10" fmla="*/ 471 w 576"/>
                  <a:gd name="T11" fmla="*/ 410 h 542"/>
                  <a:gd name="T12" fmla="*/ 446 w 576"/>
                  <a:gd name="T13" fmla="*/ 372 h 542"/>
                  <a:gd name="T14" fmla="*/ 421 w 576"/>
                  <a:gd name="T15" fmla="*/ 330 h 542"/>
                  <a:gd name="T16" fmla="*/ 394 w 576"/>
                  <a:gd name="T17" fmla="*/ 289 h 542"/>
                  <a:gd name="T18" fmla="*/ 369 w 576"/>
                  <a:gd name="T19" fmla="*/ 249 h 542"/>
                  <a:gd name="T20" fmla="*/ 344 w 576"/>
                  <a:gd name="T21" fmla="*/ 210 h 542"/>
                  <a:gd name="T22" fmla="*/ 321 w 576"/>
                  <a:gd name="T23" fmla="*/ 175 h 542"/>
                  <a:gd name="T24" fmla="*/ 284 w 576"/>
                  <a:gd name="T25" fmla="*/ 118 h 542"/>
                  <a:gd name="T26" fmla="*/ 262 w 576"/>
                  <a:gd name="T27" fmla="*/ 86 h 542"/>
                  <a:gd name="T28" fmla="*/ 187 w 576"/>
                  <a:gd name="T29" fmla="*/ 143 h 542"/>
                  <a:gd name="T30" fmla="*/ 45 w 576"/>
                  <a:gd name="T31" fmla="*/ 266 h 542"/>
                  <a:gd name="T32" fmla="*/ 0 w 576"/>
                  <a:gd name="T33" fmla="*/ 220 h 542"/>
                  <a:gd name="T34" fmla="*/ 175 w 576"/>
                  <a:gd name="T35" fmla="*/ 86 h 542"/>
                  <a:gd name="T36" fmla="*/ 238 w 576"/>
                  <a:gd name="T37" fmla="*/ 42 h 542"/>
                  <a:gd name="T38" fmla="*/ 238 w 576"/>
                  <a:gd name="T39" fmla="*/ 42 h 5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76"/>
                  <a:gd name="T61" fmla="*/ 0 h 542"/>
                  <a:gd name="T62" fmla="*/ 576 w 576"/>
                  <a:gd name="T63" fmla="*/ 542 h 54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76" h="542">
                    <a:moveTo>
                      <a:pt x="238" y="42"/>
                    </a:moveTo>
                    <a:lnTo>
                      <a:pt x="304" y="0"/>
                    </a:lnTo>
                    <a:lnTo>
                      <a:pt x="576" y="518"/>
                    </a:lnTo>
                    <a:lnTo>
                      <a:pt x="559" y="542"/>
                    </a:lnTo>
                    <a:lnTo>
                      <a:pt x="515" y="479"/>
                    </a:lnTo>
                    <a:lnTo>
                      <a:pt x="471" y="410"/>
                    </a:lnTo>
                    <a:lnTo>
                      <a:pt x="446" y="372"/>
                    </a:lnTo>
                    <a:lnTo>
                      <a:pt x="421" y="330"/>
                    </a:lnTo>
                    <a:lnTo>
                      <a:pt x="394" y="289"/>
                    </a:lnTo>
                    <a:lnTo>
                      <a:pt x="369" y="249"/>
                    </a:lnTo>
                    <a:lnTo>
                      <a:pt x="344" y="210"/>
                    </a:lnTo>
                    <a:lnTo>
                      <a:pt x="321" y="175"/>
                    </a:lnTo>
                    <a:lnTo>
                      <a:pt x="284" y="118"/>
                    </a:lnTo>
                    <a:lnTo>
                      <a:pt x="262" y="86"/>
                    </a:lnTo>
                    <a:lnTo>
                      <a:pt x="187" y="143"/>
                    </a:lnTo>
                    <a:lnTo>
                      <a:pt x="45" y="266"/>
                    </a:lnTo>
                    <a:lnTo>
                      <a:pt x="0" y="220"/>
                    </a:lnTo>
                    <a:lnTo>
                      <a:pt x="175" y="86"/>
                    </a:lnTo>
                    <a:lnTo>
                      <a:pt x="238" y="4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9" name="Freeform 480"/>
              <p:cNvSpPr>
                <a:spLocks/>
              </p:cNvSpPr>
              <p:nvPr/>
            </p:nvSpPr>
            <p:spPr bwMode="auto">
              <a:xfrm>
                <a:off x="5007" y="1768"/>
                <a:ext cx="14" cy="20"/>
              </a:xfrm>
              <a:custGeom>
                <a:avLst/>
                <a:gdLst>
                  <a:gd name="T0" fmla="*/ 4 w 44"/>
                  <a:gd name="T1" fmla="*/ 0 h 59"/>
                  <a:gd name="T2" fmla="*/ 0 w 44"/>
                  <a:gd name="T3" fmla="*/ 52 h 59"/>
                  <a:gd name="T4" fmla="*/ 44 w 44"/>
                  <a:gd name="T5" fmla="*/ 59 h 59"/>
                  <a:gd name="T6" fmla="*/ 44 w 44"/>
                  <a:gd name="T7" fmla="*/ 7 h 59"/>
                  <a:gd name="T8" fmla="*/ 4 w 44"/>
                  <a:gd name="T9" fmla="*/ 0 h 59"/>
                  <a:gd name="T10" fmla="*/ 4 w 44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4"/>
                  <a:gd name="T19" fmla="*/ 0 h 59"/>
                  <a:gd name="T20" fmla="*/ 44 w 44"/>
                  <a:gd name="T21" fmla="*/ 59 h 5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4" h="59">
                    <a:moveTo>
                      <a:pt x="4" y="0"/>
                    </a:moveTo>
                    <a:lnTo>
                      <a:pt x="0" y="52"/>
                    </a:lnTo>
                    <a:lnTo>
                      <a:pt x="44" y="59"/>
                    </a:lnTo>
                    <a:lnTo>
                      <a:pt x="44" y="7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0" name="Freeform 481"/>
              <p:cNvSpPr>
                <a:spLocks/>
              </p:cNvSpPr>
              <p:nvPr/>
            </p:nvSpPr>
            <p:spPr bwMode="auto">
              <a:xfrm>
                <a:off x="4994" y="1777"/>
                <a:ext cx="18" cy="17"/>
              </a:xfrm>
              <a:custGeom>
                <a:avLst/>
                <a:gdLst>
                  <a:gd name="T0" fmla="*/ 1 w 54"/>
                  <a:gd name="T1" fmla="*/ 0 h 51"/>
                  <a:gd name="T2" fmla="*/ 54 w 54"/>
                  <a:gd name="T3" fmla="*/ 0 h 51"/>
                  <a:gd name="T4" fmla="*/ 43 w 54"/>
                  <a:gd name="T5" fmla="*/ 51 h 51"/>
                  <a:gd name="T6" fmla="*/ 0 w 54"/>
                  <a:gd name="T7" fmla="*/ 46 h 51"/>
                  <a:gd name="T8" fmla="*/ 1 w 54"/>
                  <a:gd name="T9" fmla="*/ 0 h 51"/>
                  <a:gd name="T10" fmla="*/ 1 w 54"/>
                  <a:gd name="T11" fmla="*/ 0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4"/>
                  <a:gd name="T19" fmla="*/ 0 h 51"/>
                  <a:gd name="T20" fmla="*/ 54 w 54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4" h="51">
                    <a:moveTo>
                      <a:pt x="1" y="0"/>
                    </a:moveTo>
                    <a:lnTo>
                      <a:pt x="54" y="0"/>
                    </a:lnTo>
                    <a:lnTo>
                      <a:pt x="43" y="51"/>
                    </a:lnTo>
                    <a:lnTo>
                      <a:pt x="0" y="46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1" name="Freeform 482"/>
              <p:cNvSpPr>
                <a:spLocks/>
              </p:cNvSpPr>
              <p:nvPr/>
            </p:nvSpPr>
            <p:spPr bwMode="auto">
              <a:xfrm>
                <a:off x="4896" y="1819"/>
                <a:ext cx="25" cy="16"/>
              </a:xfrm>
              <a:custGeom>
                <a:avLst/>
                <a:gdLst>
                  <a:gd name="T0" fmla="*/ 22 w 75"/>
                  <a:gd name="T1" fmla="*/ 0 h 48"/>
                  <a:gd name="T2" fmla="*/ 75 w 75"/>
                  <a:gd name="T3" fmla="*/ 18 h 48"/>
                  <a:gd name="T4" fmla="*/ 57 w 75"/>
                  <a:gd name="T5" fmla="*/ 48 h 48"/>
                  <a:gd name="T6" fmla="*/ 0 w 75"/>
                  <a:gd name="T7" fmla="*/ 18 h 48"/>
                  <a:gd name="T8" fmla="*/ 22 w 75"/>
                  <a:gd name="T9" fmla="*/ 0 h 48"/>
                  <a:gd name="T10" fmla="*/ 22 w 75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"/>
                  <a:gd name="T19" fmla="*/ 0 h 48"/>
                  <a:gd name="T20" fmla="*/ 75 w 75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" h="48">
                    <a:moveTo>
                      <a:pt x="22" y="0"/>
                    </a:moveTo>
                    <a:lnTo>
                      <a:pt x="75" y="18"/>
                    </a:lnTo>
                    <a:lnTo>
                      <a:pt x="57" y="48"/>
                    </a:lnTo>
                    <a:lnTo>
                      <a:pt x="0" y="18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483"/>
              <p:cNvSpPr>
                <a:spLocks/>
              </p:cNvSpPr>
              <p:nvPr/>
            </p:nvSpPr>
            <p:spPr bwMode="auto">
              <a:xfrm>
                <a:off x="4748" y="1768"/>
                <a:ext cx="16" cy="20"/>
              </a:xfrm>
              <a:custGeom>
                <a:avLst/>
                <a:gdLst>
                  <a:gd name="T0" fmla="*/ 49 w 49"/>
                  <a:gd name="T1" fmla="*/ 19 h 60"/>
                  <a:gd name="T2" fmla="*/ 40 w 49"/>
                  <a:gd name="T3" fmla="*/ 60 h 60"/>
                  <a:gd name="T4" fmla="*/ 0 w 49"/>
                  <a:gd name="T5" fmla="*/ 49 h 60"/>
                  <a:gd name="T6" fmla="*/ 22 w 49"/>
                  <a:gd name="T7" fmla="*/ 0 h 60"/>
                  <a:gd name="T8" fmla="*/ 49 w 49"/>
                  <a:gd name="T9" fmla="*/ 19 h 60"/>
                  <a:gd name="T10" fmla="*/ 49 w 49"/>
                  <a:gd name="T11" fmla="*/ 19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9"/>
                  <a:gd name="T19" fmla="*/ 0 h 60"/>
                  <a:gd name="T20" fmla="*/ 49 w 49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9" h="60">
                    <a:moveTo>
                      <a:pt x="49" y="19"/>
                    </a:moveTo>
                    <a:lnTo>
                      <a:pt x="40" y="60"/>
                    </a:lnTo>
                    <a:lnTo>
                      <a:pt x="0" y="49"/>
                    </a:lnTo>
                    <a:lnTo>
                      <a:pt x="22" y="0"/>
                    </a:lnTo>
                    <a:lnTo>
                      <a:pt x="49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Freeform 484"/>
              <p:cNvSpPr>
                <a:spLocks/>
              </p:cNvSpPr>
              <p:nvPr/>
            </p:nvSpPr>
            <p:spPr bwMode="auto">
              <a:xfrm>
                <a:off x="4623" y="1720"/>
                <a:ext cx="10" cy="21"/>
              </a:xfrm>
              <a:custGeom>
                <a:avLst/>
                <a:gdLst>
                  <a:gd name="T0" fmla="*/ 30 w 30"/>
                  <a:gd name="T1" fmla="*/ 6 h 63"/>
                  <a:gd name="T2" fmla="*/ 30 w 30"/>
                  <a:gd name="T3" fmla="*/ 40 h 63"/>
                  <a:gd name="T4" fmla="*/ 1 w 30"/>
                  <a:gd name="T5" fmla="*/ 63 h 63"/>
                  <a:gd name="T6" fmla="*/ 0 w 30"/>
                  <a:gd name="T7" fmla="*/ 0 h 63"/>
                  <a:gd name="T8" fmla="*/ 30 w 30"/>
                  <a:gd name="T9" fmla="*/ 6 h 63"/>
                  <a:gd name="T10" fmla="*/ 30 w 30"/>
                  <a:gd name="T11" fmla="*/ 6 h 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63"/>
                  <a:gd name="T20" fmla="*/ 30 w 30"/>
                  <a:gd name="T21" fmla="*/ 63 h 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63">
                    <a:moveTo>
                      <a:pt x="30" y="6"/>
                    </a:moveTo>
                    <a:lnTo>
                      <a:pt x="30" y="40"/>
                    </a:lnTo>
                    <a:lnTo>
                      <a:pt x="1" y="63"/>
                    </a:lnTo>
                    <a:lnTo>
                      <a:pt x="0" y="0"/>
                    </a:lnTo>
                    <a:lnTo>
                      <a:pt x="3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Freeform 485"/>
              <p:cNvSpPr>
                <a:spLocks/>
              </p:cNvSpPr>
              <p:nvPr/>
            </p:nvSpPr>
            <p:spPr bwMode="auto">
              <a:xfrm>
                <a:off x="4765" y="1756"/>
                <a:ext cx="312" cy="192"/>
              </a:xfrm>
              <a:custGeom>
                <a:avLst/>
                <a:gdLst>
                  <a:gd name="T0" fmla="*/ 90 w 935"/>
                  <a:gd name="T1" fmla="*/ 18 h 576"/>
                  <a:gd name="T2" fmla="*/ 155 w 935"/>
                  <a:gd name="T3" fmla="*/ 34 h 576"/>
                  <a:gd name="T4" fmla="*/ 169 w 935"/>
                  <a:gd name="T5" fmla="*/ 90 h 576"/>
                  <a:gd name="T6" fmla="*/ 162 w 935"/>
                  <a:gd name="T7" fmla="*/ 141 h 576"/>
                  <a:gd name="T8" fmla="*/ 114 w 935"/>
                  <a:gd name="T9" fmla="*/ 185 h 576"/>
                  <a:gd name="T10" fmla="*/ 63 w 935"/>
                  <a:gd name="T11" fmla="*/ 189 h 576"/>
                  <a:gd name="T12" fmla="*/ 0 w 935"/>
                  <a:gd name="T13" fmla="*/ 158 h 576"/>
                  <a:gd name="T14" fmla="*/ 40 w 935"/>
                  <a:gd name="T15" fmla="*/ 210 h 576"/>
                  <a:gd name="T16" fmla="*/ 134 w 935"/>
                  <a:gd name="T17" fmla="*/ 215 h 576"/>
                  <a:gd name="T18" fmla="*/ 192 w 935"/>
                  <a:gd name="T19" fmla="*/ 178 h 576"/>
                  <a:gd name="T20" fmla="*/ 935 w 935"/>
                  <a:gd name="T21" fmla="*/ 576 h 576"/>
                  <a:gd name="T22" fmla="*/ 199 w 935"/>
                  <a:gd name="T23" fmla="*/ 127 h 576"/>
                  <a:gd name="T24" fmla="*/ 187 w 935"/>
                  <a:gd name="T25" fmla="*/ 72 h 576"/>
                  <a:gd name="T26" fmla="*/ 169 w 935"/>
                  <a:gd name="T27" fmla="*/ 18 h 576"/>
                  <a:gd name="T28" fmla="*/ 129 w 935"/>
                  <a:gd name="T29" fmla="*/ 0 h 576"/>
                  <a:gd name="T30" fmla="*/ 90 w 935"/>
                  <a:gd name="T31" fmla="*/ 18 h 576"/>
                  <a:gd name="T32" fmla="*/ 90 w 935"/>
                  <a:gd name="T33" fmla="*/ 18 h 5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5"/>
                  <a:gd name="T52" fmla="*/ 0 h 576"/>
                  <a:gd name="T53" fmla="*/ 935 w 935"/>
                  <a:gd name="T54" fmla="*/ 576 h 5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5" h="576">
                    <a:moveTo>
                      <a:pt x="90" y="18"/>
                    </a:moveTo>
                    <a:lnTo>
                      <a:pt x="155" y="34"/>
                    </a:lnTo>
                    <a:lnTo>
                      <a:pt x="169" y="90"/>
                    </a:lnTo>
                    <a:lnTo>
                      <a:pt x="162" y="141"/>
                    </a:lnTo>
                    <a:lnTo>
                      <a:pt x="114" y="185"/>
                    </a:lnTo>
                    <a:lnTo>
                      <a:pt x="63" y="189"/>
                    </a:lnTo>
                    <a:lnTo>
                      <a:pt x="0" y="158"/>
                    </a:lnTo>
                    <a:lnTo>
                      <a:pt x="40" y="210"/>
                    </a:lnTo>
                    <a:lnTo>
                      <a:pt x="134" y="215"/>
                    </a:lnTo>
                    <a:lnTo>
                      <a:pt x="192" y="178"/>
                    </a:lnTo>
                    <a:lnTo>
                      <a:pt x="935" y="576"/>
                    </a:lnTo>
                    <a:lnTo>
                      <a:pt x="199" y="127"/>
                    </a:lnTo>
                    <a:lnTo>
                      <a:pt x="187" y="72"/>
                    </a:lnTo>
                    <a:lnTo>
                      <a:pt x="169" y="18"/>
                    </a:lnTo>
                    <a:lnTo>
                      <a:pt x="129" y="0"/>
                    </a:lnTo>
                    <a:lnTo>
                      <a:pt x="90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486"/>
              <p:cNvSpPr>
                <a:spLocks/>
              </p:cNvSpPr>
              <p:nvPr/>
            </p:nvSpPr>
            <p:spPr bwMode="auto">
              <a:xfrm>
                <a:off x="4880" y="1796"/>
                <a:ext cx="114" cy="20"/>
              </a:xfrm>
              <a:custGeom>
                <a:avLst/>
                <a:gdLst>
                  <a:gd name="T0" fmla="*/ 0 w 343"/>
                  <a:gd name="T1" fmla="*/ 8 h 61"/>
                  <a:gd name="T2" fmla="*/ 87 w 343"/>
                  <a:gd name="T3" fmla="*/ 61 h 61"/>
                  <a:gd name="T4" fmla="*/ 331 w 343"/>
                  <a:gd name="T5" fmla="*/ 34 h 61"/>
                  <a:gd name="T6" fmla="*/ 343 w 343"/>
                  <a:gd name="T7" fmla="*/ 0 h 61"/>
                  <a:gd name="T8" fmla="*/ 0 w 343"/>
                  <a:gd name="T9" fmla="*/ 8 h 61"/>
                  <a:gd name="T10" fmla="*/ 0 w 343"/>
                  <a:gd name="T11" fmla="*/ 8 h 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61"/>
                  <a:gd name="T20" fmla="*/ 343 w 343"/>
                  <a:gd name="T21" fmla="*/ 61 h 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61">
                    <a:moveTo>
                      <a:pt x="0" y="8"/>
                    </a:moveTo>
                    <a:lnTo>
                      <a:pt x="87" y="61"/>
                    </a:lnTo>
                    <a:lnTo>
                      <a:pt x="331" y="34"/>
                    </a:lnTo>
                    <a:lnTo>
                      <a:pt x="343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487"/>
              <p:cNvSpPr>
                <a:spLocks/>
              </p:cNvSpPr>
              <p:nvPr/>
            </p:nvSpPr>
            <p:spPr bwMode="auto">
              <a:xfrm>
                <a:off x="5060" y="1797"/>
                <a:ext cx="79" cy="10"/>
              </a:xfrm>
              <a:custGeom>
                <a:avLst/>
                <a:gdLst>
                  <a:gd name="T0" fmla="*/ 4 w 237"/>
                  <a:gd name="T1" fmla="*/ 0 h 30"/>
                  <a:gd name="T2" fmla="*/ 0 w 237"/>
                  <a:gd name="T3" fmla="*/ 30 h 30"/>
                  <a:gd name="T4" fmla="*/ 237 w 237"/>
                  <a:gd name="T5" fmla="*/ 0 h 30"/>
                  <a:gd name="T6" fmla="*/ 4 w 237"/>
                  <a:gd name="T7" fmla="*/ 0 h 30"/>
                  <a:gd name="T8" fmla="*/ 4 w 237"/>
                  <a:gd name="T9" fmla="*/ 0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7"/>
                  <a:gd name="T16" fmla="*/ 0 h 30"/>
                  <a:gd name="T17" fmla="*/ 237 w 237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7" h="30">
                    <a:moveTo>
                      <a:pt x="4" y="0"/>
                    </a:moveTo>
                    <a:lnTo>
                      <a:pt x="0" y="30"/>
                    </a:lnTo>
                    <a:lnTo>
                      <a:pt x="237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488"/>
              <p:cNvSpPr>
                <a:spLocks/>
              </p:cNvSpPr>
              <p:nvPr/>
            </p:nvSpPr>
            <p:spPr bwMode="auto">
              <a:xfrm>
                <a:off x="4995" y="1763"/>
                <a:ext cx="34" cy="101"/>
              </a:xfrm>
              <a:custGeom>
                <a:avLst/>
                <a:gdLst>
                  <a:gd name="T0" fmla="*/ 0 w 104"/>
                  <a:gd name="T1" fmla="*/ 298 h 302"/>
                  <a:gd name="T2" fmla="*/ 64 w 104"/>
                  <a:gd name="T3" fmla="*/ 185 h 302"/>
                  <a:gd name="T4" fmla="*/ 98 w 104"/>
                  <a:gd name="T5" fmla="*/ 58 h 302"/>
                  <a:gd name="T6" fmla="*/ 104 w 104"/>
                  <a:gd name="T7" fmla="*/ 0 h 302"/>
                  <a:gd name="T8" fmla="*/ 89 w 104"/>
                  <a:gd name="T9" fmla="*/ 165 h 302"/>
                  <a:gd name="T10" fmla="*/ 33 w 104"/>
                  <a:gd name="T11" fmla="*/ 302 h 302"/>
                  <a:gd name="T12" fmla="*/ 0 w 104"/>
                  <a:gd name="T13" fmla="*/ 298 h 302"/>
                  <a:gd name="T14" fmla="*/ 0 w 104"/>
                  <a:gd name="T15" fmla="*/ 298 h 30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4"/>
                  <a:gd name="T25" fmla="*/ 0 h 302"/>
                  <a:gd name="T26" fmla="*/ 104 w 104"/>
                  <a:gd name="T27" fmla="*/ 302 h 30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4" h="302">
                    <a:moveTo>
                      <a:pt x="0" y="298"/>
                    </a:moveTo>
                    <a:lnTo>
                      <a:pt x="64" y="185"/>
                    </a:lnTo>
                    <a:lnTo>
                      <a:pt x="98" y="58"/>
                    </a:lnTo>
                    <a:lnTo>
                      <a:pt x="104" y="0"/>
                    </a:lnTo>
                    <a:lnTo>
                      <a:pt x="89" y="165"/>
                    </a:lnTo>
                    <a:lnTo>
                      <a:pt x="33" y="302"/>
                    </a:lnTo>
                    <a:lnTo>
                      <a:pt x="0" y="298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Freeform 489"/>
              <p:cNvSpPr>
                <a:spLocks/>
              </p:cNvSpPr>
              <p:nvPr/>
            </p:nvSpPr>
            <p:spPr bwMode="auto">
              <a:xfrm>
                <a:off x="4896" y="1802"/>
                <a:ext cx="72" cy="8"/>
              </a:xfrm>
              <a:custGeom>
                <a:avLst/>
                <a:gdLst>
                  <a:gd name="T0" fmla="*/ 0 w 215"/>
                  <a:gd name="T1" fmla="*/ 0 h 25"/>
                  <a:gd name="T2" fmla="*/ 33 w 215"/>
                  <a:gd name="T3" fmla="*/ 25 h 25"/>
                  <a:gd name="T4" fmla="*/ 215 w 215"/>
                  <a:gd name="T5" fmla="*/ 7 h 25"/>
                  <a:gd name="T6" fmla="*/ 0 w 215"/>
                  <a:gd name="T7" fmla="*/ 0 h 25"/>
                  <a:gd name="T8" fmla="*/ 0 w 215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5"/>
                  <a:gd name="T16" fmla="*/ 0 h 25"/>
                  <a:gd name="T17" fmla="*/ 215 w 215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5" h="25">
                    <a:moveTo>
                      <a:pt x="0" y="0"/>
                    </a:moveTo>
                    <a:lnTo>
                      <a:pt x="33" y="25"/>
                    </a:lnTo>
                    <a:lnTo>
                      <a:pt x="215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Freeform 490"/>
              <p:cNvSpPr>
                <a:spLocks/>
              </p:cNvSpPr>
              <p:nvPr/>
            </p:nvSpPr>
            <p:spPr bwMode="auto">
              <a:xfrm>
                <a:off x="4996" y="1835"/>
                <a:ext cx="20" cy="30"/>
              </a:xfrm>
              <a:custGeom>
                <a:avLst/>
                <a:gdLst>
                  <a:gd name="T0" fmla="*/ 0 w 61"/>
                  <a:gd name="T1" fmla="*/ 80 h 91"/>
                  <a:gd name="T2" fmla="*/ 37 w 61"/>
                  <a:gd name="T3" fmla="*/ 91 h 91"/>
                  <a:gd name="T4" fmla="*/ 61 w 61"/>
                  <a:gd name="T5" fmla="*/ 0 h 91"/>
                  <a:gd name="T6" fmla="*/ 0 w 61"/>
                  <a:gd name="T7" fmla="*/ 80 h 91"/>
                  <a:gd name="T8" fmla="*/ 0 w 61"/>
                  <a:gd name="T9" fmla="*/ 8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"/>
                  <a:gd name="T16" fmla="*/ 0 h 91"/>
                  <a:gd name="T17" fmla="*/ 61 w 61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" h="91">
                    <a:moveTo>
                      <a:pt x="0" y="80"/>
                    </a:moveTo>
                    <a:lnTo>
                      <a:pt x="37" y="91"/>
                    </a:lnTo>
                    <a:lnTo>
                      <a:pt x="61" y="0"/>
                    </a:lnTo>
                    <a:lnTo>
                      <a:pt x="0" y="8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0" name="Freeform 491"/>
              <p:cNvSpPr>
                <a:spLocks/>
              </p:cNvSpPr>
              <p:nvPr/>
            </p:nvSpPr>
            <p:spPr bwMode="auto">
              <a:xfrm>
                <a:off x="4760" y="1755"/>
                <a:ext cx="44" cy="72"/>
              </a:xfrm>
              <a:custGeom>
                <a:avLst/>
                <a:gdLst>
                  <a:gd name="T0" fmla="*/ 35 w 132"/>
                  <a:gd name="T1" fmla="*/ 215 h 215"/>
                  <a:gd name="T2" fmla="*/ 0 w 132"/>
                  <a:gd name="T3" fmla="*/ 168 h 215"/>
                  <a:gd name="T4" fmla="*/ 5 w 132"/>
                  <a:gd name="T5" fmla="*/ 106 h 215"/>
                  <a:gd name="T6" fmla="*/ 33 w 132"/>
                  <a:gd name="T7" fmla="*/ 43 h 215"/>
                  <a:gd name="T8" fmla="*/ 92 w 132"/>
                  <a:gd name="T9" fmla="*/ 2 h 215"/>
                  <a:gd name="T10" fmla="*/ 132 w 132"/>
                  <a:gd name="T11" fmla="*/ 0 h 215"/>
                  <a:gd name="T12" fmla="*/ 96 w 132"/>
                  <a:gd name="T13" fmla="*/ 29 h 215"/>
                  <a:gd name="T14" fmla="*/ 55 w 132"/>
                  <a:gd name="T15" fmla="*/ 57 h 215"/>
                  <a:gd name="T16" fmla="*/ 26 w 132"/>
                  <a:gd name="T17" fmla="*/ 130 h 215"/>
                  <a:gd name="T18" fmla="*/ 24 w 132"/>
                  <a:gd name="T19" fmla="*/ 173 h 215"/>
                  <a:gd name="T20" fmla="*/ 35 w 132"/>
                  <a:gd name="T21" fmla="*/ 215 h 215"/>
                  <a:gd name="T22" fmla="*/ 35 w 132"/>
                  <a:gd name="T23" fmla="*/ 215 h 2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2"/>
                  <a:gd name="T37" fmla="*/ 0 h 215"/>
                  <a:gd name="T38" fmla="*/ 132 w 132"/>
                  <a:gd name="T39" fmla="*/ 215 h 2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2" h="215">
                    <a:moveTo>
                      <a:pt x="35" y="215"/>
                    </a:moveTo>
                    <a:lnTo>
                      <a:pt x="0" y="168"/>
                    </a:lnTo>
                    <a:lnTo>
                      <a:pt x="5" y="106"/>
                    </a:lnTo>
                    <a:lnTo>
                      <a:pt x="33" y="43"/>
                    </a:lnTo>
                    <a:lnTo>
                      <a:pt x="92" y="2"/>
                    </a:lnTo>
                    <a:lnTo>
                      <a:pt x="132" y="0"/>
                    </a:lnTo>
                    <a:lnTo>
                      <a:pt x="96" y="29"/>
                    </a:lnTo>
                    <a:lnTo>
                      <a:pt x="55" y="57"/>
                    </a:lnTo>
                    <a:lnTo>
                      <a:pt x="26" y="130"/>
                    </a:lnTo>
                    <a:lnTo>
                      <a:pt x="24" y="173"/>
                    </a:lnTo>
                    <a:lnTo>
                      <a:pt x="35" y="215"/>
                    </a:lnTo>
                    <a:close/>
                  </a:path>
                </a:pathLst>
              </a:custGeom>
              <a:solidFill>
                <a:srgbClr val="FFFF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Freeform 492"/>
              <p:cNvSpPr>
                <a:spLocks/>
              </p:cNvSpPr>
              <p:nvPr/>
            </p:nvSpPr>
            <p:spPr bwMode="auto">
              <a:xfrm>
                <a:off x="4741" y="1768"/>
                <a:ext cx="9" cy="10"/>
              </a:xfrm>
              <a:custGeom>
                <a:avLst/>
                <a:gdLst>
                  <a:gd name="T0" fmla="*/ 15 w 28"/>
                  <a:gd name="T1" fmla="*/ 1 h 29"/>
                  <a:gd name="T2" fmla="*/ 0 w 28"/>
                  <a:gd name="T3" fmla="*/ 25 h 29"/>
                  <a:gd name="T4" fmla="*/ 23 w 28"/>
                  <a:gd name="T5" fmla="*/ 29 h 29"/>
                  <a:gd name="T6" fmla="*/ 28 w 28"/>
                  <a:gd name="T7" fmla="*/ 0 h 29"/>
                  <a:gd name="T8" fmla="*/ 15 w 28"/>
                  <a:gd name="T9" fmla="*/ 1 h 29"/>
                  <a:gd name="T10" fmla="*/ 15 w 28"/>
                  <a:gd name="T11" fmla="*/ 1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9"/>
                  <a:gd name="T20" fmla="*/ 28 w 28"/>
                  <a:gd name="T21" fmla="*/ 29 h 2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9">
                    <a:moveTo>
                      <a:pt x="15" y="1"/>
                    </a:moveTo>
                    <a:lnTo>
                      <a:pt x="0" y="25"/>
                    </a:lnTo>
                    <a:lnTo>
                      <a:pt x="23" y="29"/>
                    </a:lnTo>
                    <a:lnTo>
                      <a:pt x="28" y="0"/>
                    </a:lnTo>
                    <a:lnTo>
                      <a:pt x="15" y="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Freeform 493"/>
              <p:cNvSpPr>
                <a:spLocks/>
              </p:cNvSpPr>
              <p:nvPr/>
            </p:nvSpPr>
            <p:spPr bwMode="auto">
              <a:xfrm>
                <a:off x="4658" y="1530"/>
                <a:ext cx="414" cy="165"/>
              </a:xfrm>
              <a:custGeom>
                <a:avLst/>
                <a:gdLst>
                  <a:gd name="T0" fmla="*/ 94 w 1241"/>
                  <a:gd name="T1" fmla="*/ 420 h 496"/>
                  <a:gd name="T2" fmla="*/ 116 w 1241"/>
                  <a:gd name="T3" fmla="*/ 496 h 496"/>
                  <a:gd name="T4" fmla="*/ 190 w 1241"/>
                  <a:gd name="T5" fmla="*/ 368 h 496"/>
                  <a:gd name="T6" fmla="*/ 265 w 1241"/>
                  <a:gd name="T7" fmla="*/ 434 h 496"/>
                  <a:gd name="T8" fmla="*/ 305 w 1241"/>
                  <a:gd name="T9" fmla="*/ 324 h 496"/>
                  <a:gd name="T10" fmla="*/ 413 w 1241"/>
                  <a:gd name="T11" fmla="*/ 412 h 496"/>
                  <a:gd name="T12" fmla="*/ 423 w 1241"/>
                  <a:gd name="T13" fmla="*/ 289 h 496"/>
                  <a:gd name="T14" fmla="*/ 546 w 1241"/>
                  <a:gd name="T15" fmla="*/ 368 h 496"/>
                  <a:gd name="T16" fmla="*/ 586 w 1241"/>
                  <a:gd name="T17" fmla="*/ 245 h 496"/>
                  <a:gd name="T18" fmla="*/ 708 w 1241"/>
                  <a:gd name="T19" fmla="*/ 307 h 496"/>
                  <a:gd name="T20" fmla="*/ 717 w 1241"/>
                  <a:gd name="T21" fmla="*/ 213 h 496"/>
                  <a:gd name="T22" fmla="*/ 805 w 1241"/>
                  <a:gd name="T23" fmla="*/ 289 h 496"/>
                  <a:gd name="T24" fmla="*/ 841 w 1241"/>
                  <a:gd name="T25" fmla="*/ 171 h 496"/>
                  <a:gd name="T26" fmla="*/ 901 w 1241"/>
                  <a:gd name="T27" fmla="*/ 231 h 496"/>
                  <a:gd name="T28" fmla="*/ 950 w 1241"/>
                  <a:gd name="T29" fmla="*/ 153 h 496"/>
                  <a:gd name="T30" fmla="*/ 1020 w 1241"/>
                  <a:gd name="T31" fmla="*/ 223 h 496"/>
                  <a:gd name="T32" fmla="*/ 1060 w 1241"/>
                  <a:gd name="T33" fmla="*/ 143 h 496"/>
                  <a:gd name="T34" fmla="*/ 1108 w 1241"/>
                  <a:gd name="T35" fmla="*/ 201 h 496"/>
                  <a:gd name="T36" fmla="*/ 1144 w 1241"/>
                  <a:gd name="T37" fmla="*/ 139 h 496"/>
                  <a:gd name="T38" fmla="*/ 1241 w 1241"/>
                  <a:gd name="T39" fmla="*/ 187 h 496"/>
                  <a:gd name="T40" fmla="*/ 1177 w 1241"/>
                  <a:gd name="T41" fmla="*/ 0 h 496"/>
                  <a:gd name="T42" fmla="*/ 753 w 1241"/>
                  <a:gd name="T43" fmla="*/ 78 h 496"/>
                  <a:gd name="T44" fmla="*/ 353 w 1241"/>
                  <a:gd name="T45" fmla="*/ 195 h 496"/>
                  <a:gd name="T46" fmla="*/ 0 w 1241"/>
                  <a:gd name="T47" fmla="*/ 355 h 496"/>
                  <a:gd name="T48" fmla="*/ 94 w 1241"/>
                  <a:gd name="T49" fmla="*/ 420 h 496"/>
                  <a:gd name="T50" fmla="*/ 94 w 1241"/>
                  <a:gd name="T51" fmla="*/ 420 h 49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41"/>
                  <a:gd name="T79" fmla="*/ 0 h 496"/>
                  <a:gd name="T80" fmla="*/ 1241 w 1241"/>
                  <a:gd name="T81" fmla="*/ 496 h 49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41" h="496">
                    <a:moveTo>
                      <a:pt x="94" y="420"/>
                    </a:moveTo>
                    <a:lnTo>
                      <a:pt x="116" y="496"/>
                    </a:lnTo>
                    <a:lnTo>
                      <a:pt x="190" y="368"/>
                    </a:lnTo>
                    <a:lnTo>
                      <a:pt x="265" y="434"/>
                    </a:lnTo>
                    <a:lnTo>
                      <a:pt x="305" y="324"/>
                    </a:lnTo>
                    <a:lnTo>
                      <a:pt x="413" y="412"/>
                    </a:lnTo>
                    <a:lnTo>
                      <a:pt x="423" y="289"/>
                    </a:lnTo>
                    <a:lnTo>
                      <a:pt x="546" y="368"/>
                    </a:lnTo>
                    <a:lnTo>
                      <a:pt x="586" y="245"/>
                    </a:lnTo>
                    <a:lnTo>
                      <a:pt x="708" y="307"/>
                    </a:lnTo>
                    <a:lnTo>
                      <a:pt x="717" y="213"/>
                    </a:lnTo>
                    <a:lnTo>
                      <a:pt x="805" y="289"/>
                    </a:lnTo>
                    <a:lnTo>
                      <a:pt x="841" y="171"/>
                    </a:lnTo>
                    <a:lnTo>
                      <a:pt x="901" y="231"/>
                    </a:lnTo>
                    <a:lnTo>
                      <a:pt x="950" y="153"/>
                    </a:lnTo>
                    <a:lnTo>
                      <a:pt x="1020" y="223"/>
                    </a:lnTo>
                    <a:lnTo>
                      <a:pt x="1060" y="143"/>
                    </a:lnTo>
                    <a:lnTo>
                      <a:pt x="1108" y="201"/>
                    </a:lnTo>
                    <a:lnTo>
                      <a:pt x="1144" y="139"/>
                    </a:lnTo>
                    <a:lnTo>
                      <a:pt x="1241" y="187"/>
                    </a:lnTo>
                    <a:lnTo>
                      <a:pt x="1177" y="0"/>
                    </a:lnTo>
                    <a:lnTo>
                      <a:pt x="753" y="78"/>
                    </a:lnTo>
                    <a:lnTo>
                      <a:pt x="353" y="195"/>
                    </a:lnTo>
                    <a:lnTo>
                      <a:pt x="0" y="355"/>
                    </a:lnTo>
                    <a:lnTo>
                      <a:pt x="94" y="420"/>
                    </a:lnTo>
                    <a:close/>
                  </a:path>
                </a:pathLst>
              </a:custGeom>
              <a:solidFill>
                <a:srgbClr val="FFF2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Freeform 494"/>
              <p:cNvSpPr>
                <a:spLocks/>
              </p:cNvSpPr>
              <p:nvPr/>
            </p:nvSpPr>
            <p:spPr bwMode="auto">
              <a:xfrm>
                <a:off x="4622" y="1584"/>
                <a:ext cx="245" cy="172"/>
              </a:xfrm>
              <a:custGeom>
                <a:avLst/>
                <a:gdLst>
                  <a:gd name="T0" fmla="*/ 54 w 734"/>
                  <a:gd name="T1" fmla="*/ 229 h 518"/>
                  <a:gd name="T2" fmla="*/ 243 w 734"/>
                  <a:gd name="T3" fmla="*/ 95 h 518"/>
                  <a:gd name="T4" fmla="*/ 308 w 734"/>
                  <a:gd name="T5" fmla="*/ 69 h 518"/>
                  <a:gd name="T6" fmla="*/ 371 w 734"/>
                  <a:gd name="T7" fmla="*/ 40 h 518"/>
                  <a:gd name="T8" fmla="*/ 436 w 734"/>
                  <a:gd name="T9" fmla="*/ 15 h 518"/>
                  <a:gd name="T10" fmla="*/ 501 w 734"/>
                  <a:gd name="T11" fmla="*/ 0 h 518"/>
                  <a:gd name="T12" fmla="*/ 509 w 734"/>
                  <a:gd name="T13" fmla="*/ 31 h 518"/>
                  <a:gd name="T14" fmla="*/ 116 w 734"/>
                  <a:gd name="T15" fmla="*/ 199 h 518"/>
                  <a:gd name="T16" fmla="*/ 221 w 734"/>
                  <a:gd name="T17" fmla="*/ 244 h 518"/>
                  <a:gd name="T18" fmla="*/ 229 w 734"/>
                  <a:gd name="T19" fmla="*/ 295 h 518"/>
                  <a:gd name="T20" fmla="*/ 242 w 734"/>
                  <a:gd name="T21" fmla="*/ 448 h 518"/>
                  <a:gd name="T22" fmla="*/ 483 w 734"/>
                  <a:gd name="T23" fmla="*/ 371 h 518"/>
                  <a:gd name="T24" fmla="*/ 604 w 734"/>
                  <a:gd name="T25" fmla="*/ 327 h 518"/>
                  <a:gd name="T26" fmla="*/ 721 w 734"/>
                  <a:gd name="T27" fmla="*/ 295 h 518"/>
                  <a:gd name="T28" fmla="*/ 734 w 734"/>
                  <a:gd name="T29" fmla="*/ 327 h 518"/>
                  <a:gd name="T30" fmla="*/ 655 w 734"/>
                  <a:gd name="T31" fmla="*/ 346 h 518"/>
                  <a:gd name="T32" fmla="*/ 561 w 734"/>
                  <a:gd name="T33" fmla="*/ 378 h 518"/>
                  <a:gd name="T34" fmla="*/ 458 w 734"/>
                  <a:gd name="T35" fmla="*/ 414 h 518"/>
                  <a:gd name="T36" fmla="*/ 352 w 734"/>
                  <a:gd name="T37" fmla="*/ 451 h 518"/>
                  <a:gd name="T38" fmla="*/ 251 w 734"/>
                  <a:gd name="T39" fmla="*/ 484 h 518"/>
                  <a:gd name="T40" fmla="*/ 163 w 734"/>
                  <a:gd name="T41" fmla="*/ 510 h 518"/>
                  <a:gd name="T42" fmla="*/ 51 w 734"/>
                  <a:gd name="T43" fmla="*/ 518 h 518"/>
                  <a:gd name="T44" fmla="*/ 0 w 734"/>
                  <a:gd name="T45" fmla="*/ 470 h 518"/>
                  <a:gd name="T46" fmla="*/ 33 w 734"/>
                  <a:gd name="T47" fmla="*/ 441 h 518"/>
                  <a:gd name="T48" fmla="*/ 42 w 734"/>
                  <a:gd name="T49" fmla="*/ 470 h 518"/>
                  <a:gd name="T50" fmla="*/ 62 w 734"/>
                  <a:gd name="T51" fmla="*/ 488 h 518"/>
                  <a:gd name="T52" fmla="*/ 115 w 734"/>
                  <a:gd name="T53" fmla="*/ 498 h 518"/>
                  <a:gd name="T54" fmla="*/ 166 w 734"/>
                  <a:gd name="T55" fmla="*/ 481 h 518"/>
                  <a:gd name="T56" fmla="*/ 184 w 734"/>
                  <a:gd name="T57" fmla="*/ 448 h 518"/>
                  <a:gd name="T58" fmla="*/ 93 w 734"/>
                  <a:gd name="T59" fmla="*/ 459 h 518"/>
                  <a:gd name="T60" fmla="*/ 98 w 734"/>
                  <a:gd name="T61" fmla="*/ 379 h 518"/>
                  <a:gd name="T62" fmla="*/ 54 w 734"/>
                  <a:gd name="T63" fmla="*/ 379 h 518"/>
                  <a:gd name="T64" fmla="*/ 33 w 734"/>
                  <a:gd name="T65" fmla="*/ 423 h 518"/>
                  <a:gd name="T66" fmla="*/ 3 w 734"/>
                  <a:gd name="T67" fmla="*/ 430 h 518"/>
                  <a:gd name="T68" fmla="*/ 4 w 734"/>
                  <a:gd name="T69" fmla="*/ 386 h 518"/>
                  <a:gd name="T70" fmla="*/ 20 w 734"/>
                  <a:gd name="T71" fmla="*/ 353 h 518"/>
                  <a:gd name="T72" fmla="*/ 73 w 734"/>
                  <a:gd name="T73" fmla="*/ 308 h 518"/>
                  <a:gd name="T74" fmla="*/ 134 w 734"/>
                  <a:gd name="T75" fmla="*/ 287 h 518"/>
                  <a:gd name="T76" fmla="*/ 178 w 734"/>
                  <a:gd name="T77" fmla="*/ 284 h 518"/>
                  <a:gd name="T78" fmla="*/ 180 w 734"/>
                  <a:gd name="T79" fmla="*/ 257 h 518"/>
                  <a:gd name="T80" fmla="*/ 156 w 734"/>
                  <a:gd name="T81" fmla="*/ 235 h 518"/>
                  <a:gd name="T82" fmla="*/ 54 w 734"/>
                  <a:gd name="T83" fmla="*/ 229 h 518"/>
                  <a:gd name="T84" fmla="*/ 54 w 734"/>
                  <a:gd name="T85" fmla="*/ 229 h 51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34"/>
                  <a:gd name="T130" fmla="*/ 0 h 518"/>
                  <a:gd name="T131" fmla="*/ 734 w 734"/>
                  <a:gd name="T132" fmla="*/ 518 h 51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34" h="518">
                    <a:moveTo>
                      <a:pt x="54" y="229"/>
                    </a:moveTo>
                    <a:lnTo>
                      <a:pt x="243" y="95"/>
                    </a:lnTo>
                    <a:lnTo>
                      <a:pt x="308" y="69"/>
                    </a:lnTo>
                    <a:lnTo>
                      <a:pt x="371" y="40"/>
                    </a:lnTo>
                    <a:lnTo>
                      <a:pt x="436" y="15"/>
                    </a:lnTo>
                    <a:lnTo>
                      <a:pt x="501" y="0"/>
                    </a:lnTo>
                    <a:lnTo>
                      <a:pt x="509" y="31"/>
                    </a:lnTo>
                    <a:lnTo>
                      <a:pt x="116" y="199"/>
                    </a:lnTo>
                    <a:lnTo>
                      <a:pt x="221" y="244"/>
                    </a:lnTo>
                    <a:lnTo>
                      <a:pt x="229" y="295"/>
                    </a:lnTo>
                    <a:lnTo>
                      <a:pt x="242" y="448"/>
                    </a:lnTo>
                    <a:lnTo>
                      <a:pt x="483" y="371"/>
                    </a:lnTo>
                    <a:lnTo>
                      <a:pt x="604" y="327"/>
                    </a:lnTo>
                    <a:lnTo>
                      <a:pt x="721" y="295"/>
                    </a:lnTo>
                    <a:lnTo>
                      <a:pt x="734" y="327"/>
                    </a:lnTo>
                    <a:lnTo>
                      <a:pt x="655" y="346"/>
                    </a:lnTo>
                    <a:lnTo>
                      <a:pt x="561" y="378"/>
                    </a:lnTo>
                    <a:lnTo>
                      <a:pt x="458" y="414"/>
                    </a:lnTo>
                    <a:lnTo>
                      <a:pt x="352" y="451"/>
                    </a:lnTo>
                    <a:lnTo>
                      <a:pt x="251" y="484"/>
                    </a:lnTo>
                    <a:lnTo>
                      <a:pt x="163" y="510"/>
                    </a:lnTo>
                    <a:lnTo>
                      <a:pt x="51" y="518"/>
                    </a:lnTo>
                    <a:lnTo>
                      <a:pt x="0" y="470"/>
                    </a:lnTo>
                    <a:lnTo>
                      <a:pt x="33" y="441"/>
                    </a:lnTo>
                    <a:lnTo>
                      <a:pt x="42" y="470"/>
                    </a:lnTo>
                    <a:lnTo>
                      <a:pt x="62" y="488"/>
                    </a:lnTo>
                    <a:lnTo>
                      <a:pt x="115" y="498"/>
                    </a:lnTo>
                    <a:lnTo>
                      <a:pt x="166" y="481"/>
                    </a:lnTo>
                    <a:lnTo>
                      <a:pt x="184" y="448"/>
                    </a:lnTo>
                    <a:lnTo>
                      <a:pt x="93" y="459"/>
                    </a:lnTo>
                    <a:lnTo>
                      <a:pt x="98" y="379"/>
                    </a:lnTo>
                    <a:lnTo>
                      <a:pt x="54" y="379"/>
                    </a:lnTo>
                    <a:lnTo>
                      <a:pt x="33" y="423"/>
                    </a:lnTo>
                    <a:lnTo>
                      <a:pt x="3" y="430"/>
                    </a:lnTo>
                    <a:lnTo>
                      <a:pt x="4" y="386"/>
                    </a:lnTo>
                    <a:lnTo>
                      <a:pt x="20" y="353"/>
                    </a:lnTo>
                    <a:lnTo>
                      <a:pt x="73" y="308"/>
                    </a:lnTo>
                    <a:lnTo>
                      <a:pt x="134" y="287"/>
                    </a:lnTo>
                    <a:lnTo>
                      <a:pt x="178" y="284"/>
                    </a:lnTo>
                    <a:lnTo>
                      <a:pt x="180" y="257"/>
                    </a:lnTo>
                    <a:lnTo>
                      <a:pt x="156" y="235"/>
                    </a:lnTo>
                    <a:lnTo>
                      <a:pt x="54" y="22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" name="Freeform 495"/>
              <p:cNvSpPr>
                <a:spLocks/>
              </p:cNvSpPr>
              <p:nvPr/>
            </p:nvSpPr>
            <p:spPr bwMode="auto">
              <a:xfrm>
                <a:off x="4779" y="1517"/>
                <a:ext cx="329" cy="115"/>
              </a:xfrm>
              <a:custGeom>
                <a:avLst/>
                <a:gdLst>
                  <a:gd name="T0" fmla="*/ 944 w 986"/>
                  <a:gd name="T1" fmla="*/ 256 h 345"/>
                  <a:gd name="T2" fmla="*/ 986 w 986"/>
                  <a:gd name="T3" fmla="*/ 282 h 345"/>
                  <a:gd name="T4" fmla="*/ 923 w 986"/>
                  <a:gd name="T5" fmla="*/ 345 h 345"/>
                  <a:gd name="T6" fmla="*/ 852 w 986"/>
                  <a:gd name="T7" fmla="*/ 293 h 345"/>
                  <a:gd name="T8" fmla="*/ 855 w 986"/>
                  <a:gd name="T9" fmla="*/ 212 h 345"/>
                  <a:gd name="T10" fmla="*/ 841 w 986"/>
                  <a:gd name="T11" fmla="*/ 173 h 345"/>
                  <a:gd name="T12" fmla="*/ 754 w 986"/>
                  <a:gd name="T13" fmla="*/ 71 h 345"/>
                  <a:gd name="T14" fmla="*/ 652 w 986"/>
                  <a:gd name="T15" fmla="*/ 90 h 345"/>
                  <a:gd name="T16" fmla="*/ 419 w 986"/>
                  <a:gd name="T17" fmla="*/ 136 h 345"/>
                  <a:gd name="T18" fmla="*/ 223 w 986"/>
                  <a:gd name="T19" fmla="*/ 181 h 345"/>
                  <a:gd name="T20" fmla="*/ 30 w 986"/>
                  <a:gd name="T21" fmla="*/ 232 h 345"/>
                  <a:gd name="T22" fmla="*/ 0 w 986"/>
                  <a:gd name="T23" fmla="*/ 206 h 345"/>
                  <a:gd name="T24" fmla="*/ 94 w 986"/>
                  <a:gd name="T25" fmla="*/ 175 h 345"/>
                  <a:gd name="T26" fmla="*/ 189 w 986"/>
                  <a:gd name="T27" fmla="*/ 146 h 345"/>
                  <a:gd name="T28" fmla="*/ 288 w 986"/>
                  <a:gd name="T29" fmla="*/ 117 h 345"/>
                  <a:gd name="T30" fmla="*/ 387 w 986"/>
                  <a:gd name="T31" fmla="*/ 89 h 345"/>
                  <a:gd name="T32" fmla="*/ 488 w 986"/>
                  <a:gd name="T33" fmla="*/ 63 h 345"/>
                  <a:gd name="T34" fmla="*/ 586 w 986"/>
                  <a:gd name="T35" fmla="*/ 39 h 345"/>
                  <a:gd name="T36" fmla="*/ 684 w 986"/>
                  <a:gd name="T37" fmla="*/ 17 h 345"/>
                  <a:gd name="T38" fmla="*/ 776 w 986"/>
                  <a:gd name="T39" fmla="*/ 0 h 345"/>
                  <a:gd name="T40" fmla="*/ 861 w 986"/>
                  <a:gd name="T41" fmla="*/ 73 h 345"/>
                  <a:gd name="T42" fmla="*/ 944 w 986"/>
                  <a:gd name="T43" fmla="*/ 256 h 345"/>
                  <a:gd name="T44" fmla="*/ 944 w 986"/>
                  <a:gd name="T45" fmla="*/ 256 h 3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6"/>
                  <a:gd name="T70" fmla="*/ 0 h 345"/>
                  <a:gd name="T71" fmla="*/ 986 w 986"/>
                  <a:gd name="T72" fmla="*/ 345 h 34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6" h="345">
                    <a:moveTo>
                      <a:pt x="944" y="256"/>
                    </a:moveTo>
                    <a:lnTo>
                      <a:pt x="986" y="282"/>
                    </a:lnTo>
                    <a:lnTo>
                      <a:pt x="923" y="345"/>
                    </a:lnTo>
                    <a:lnTo>
                      <a:pt x="852" y="293"/>
                    </a:lnTo>
                    <a:lnTo>
                      <a:pt x="855" y="212"/>
                    </a:lnTo>
                    <a:lnTo>
                      <a:pt x="841" y="173"/>
                    </a:lnTo>
                    <a:lnTo>
                      <a:pt x="754" y="71"/>
                    </a:lnTo>
                    <a:lnTo>
                      <a:pt x="652" y="90"/>
                    </a:lnTo>
                    <a:lnTo>
                      <a:pt x="419" y="136"/>
                    </a:lnTo>
                    <a:lnTo>
                      <a:pt x="223" y="181"/>
                    </a:lnTo>
                    <a:lnTo>
                      <a:pt x="30" y="232"/>
                    </a:lnTo>
                    <a:lnTo>
                      <a:pt x="0" y="206"/>
                    </a:lnTo>
                    <a:lnTo>
                      <a:pt x="94" y="175"/>
                    </a:lnTo>
                    <a:lnTo>
                      <a:pt x="189" y="146"/>
                    </a:lnTo>
                    <a:lnTo>
                      <a:pt x="288" y="117"/>
                    </a:lnTo>
                    <a:lnTo>
                      <a:pt x="387" y="89"/>
                    </a:lnTo>
                    <a:lnTo>
                      <a:pt x="488" y="63"/>
                    </a:lnTo>
                    <a:lnTo>
                      <a:pt x="586" y="39"/>
                    </a:lnTo>
                    <a:lnTo>
                      <a:pt x="684" y="17"/>
                    </a:lnTo>
                    <a:lnTo>
                      <a:pt x="776" y="0"/>
                    </a:lnTo>
                    <a:lnTo>
                      <a:pt x="861" y="73"/>
                    </a:lnTo>
                    <a:lnTo>
                      <a:pt x="944" y="2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Freeform 496"/>
              <p:cNvSpPr>
                <a:spLocks/>
              </p:cNvSpPr>
              <p:nvPr/>
            </p:nvSpPr>
            <p:spPr bwMode="auto">
              <a:xfrm>
                <a:off x="5032" y="1566"/>
                <a:ext cx="322" cy="395"/>
              </a:xfrm>
              <a:custGeom>
                <a:avLst/>
                <a:gdLst>
                  <a:gd name="T0" fmla="*/ 0 w 966"/>
                  <a:gd name="T1" fmla="*/ 398 h 1186"/>
                  <a:gd name="T2" fmla="*/ 34 w 966"/>
                  <a:gd name="T3" fmla="*/ 505 h 1186"/>
                  <a:gd name="T4" fmla="*/ 384 w 966"/>
                  <a:gd name="T5" fmla="*/ 147 h 1186"/>
                  <a:gd name="T6" fmla="*/ 485 w 966"/>
                  <a:gd name="T7" fmla="*/ 216 h 1186"/>
                  <a:gd name="T8" fmla="*/ 681 w 966"/>
                  <a:gd name="T9" fmla="*/ 611 h 1186"/>
                  <a:gd name="T10" fmla="*/ 821 w 966"/>
                  <a:gd name="T11" fmla="*/ 646 h 1186"/>
                  <a:gd name="T12" fmla="*/ 750 w 966"/>
                  <a:gd name="T13" fmla="*/ 718 h 1186"/>
                  <a:gd name="T14" fmla="*/ 828 w 966"/>
                  <a:gd name="T15" fmla="*/ 906 h 1186"/>
                  <a:gd name="T16" fmla="*/ 299 w 966"/>
                  <a:gd name="T17" fmla="*/ 1135 h 1186"/>
                  <a:gd name="T18" fmla="*/ 377 w 966"/>
                  <a:gd name="T19" fmla="*/ 1186 h 1186"/>
                  <a:gd name="T20" fmla="*/ 450 w 966"/>
                  <a:gd name="T21" fmla="*/ 1131 h 1186"/>
                  <a:gd name="T22" fmla="*/ 543 w 966"/>
                  <a:gd name="T23" fmla="*/ 1127 h 1186"/>
                  <a:gd name="T24" fmla="*/ 646 w 966"/>
                  <a:gd name="T25" fmla="*/ 1052 h 1186"/>
                  <a:gd name="T26" fmla="*/ 746 w 966"/>
                  <a:gd name="T27" fmla="*/ 1048 h 1186"/>
                  <a:gd name="T28" fmla="*/ 780 w 966"/>
                  <a:gd name="T29" fmla="*/ 996 h 1186"/>
                  <a:gd name="T30" fmla="*/ 911 w 966"/>
                  <a:gd name="T31" fmla="*/ 975 h 1186"/>
                  <a:gd name="T32" fmla="*/ 939 w 966"/>
                  <a:gd name="T33" fmla="*/ 931 h 1186"/>
                  <a:gd name="T34" fmla="*/ 966 w 966"/>
                  <a:gd name="T35" fmla="*/ 942 h 1186"/>
                  <a:gd name="T36" fmla="*/ 773 w 966"/>
                  <a:gd name="T37" fmla="*/ 525 h 1186"/>
                  <a:gd name="T38" fmla="*/ 416 w 966"/>
                  <a:gd name="T39" fmla="*/ 0 h 1186"/>
                  <a:gd name="T40" fmla="*/ 0 w 966"/>
                  <a:gd name="T41" fmla="*/ 398 h 1186"/>
                  <a:gd name="T42" fmla="*/ 0 w 966"/>
                  <a:gd name="T43" fmla="*/ 398 h 118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66"/>
                  <a:gd name="T67" fmla="*/ 0 h 1186"/>
                  <a:gd name="T68" fmla="*/ 966 w 966"/>
                  <a:gd name="T69" fmla="*/ 1186 h 118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66" h="1186">
                    <a:moveTo>
                      <a:pt x="0" y="398"/>
                    </a:moveTo>
                    <a:lnTo>
                      <a:pt x="34" y="505"/>
                    </a:lnTo>
                    <a:lnTo>
                      <a:pt x="384" y="147"/>
                    </a:lnTo>
                    <a:lnTo>
                      <a:pt x="485" y="216"/>
                    </a:lnTo>
                    <a:lnTo>
                      <a:pt x="681" y="611"/>
                    </a:lnTo>
                    <a:lnTo>
                      <a:pt x="821" y="646"/>
                    </a:lnTo>
                    <a:lnTo>
                      <a:pt x="750" y="718"/>
                    </a:lnTo>
                    <a:lnTo>
                      <a:pt x="828" y="906"/>
                    </a:lnTo>
                    <a:lnTo>
                      <a:pt x="299" y="1135"/>
                    </a:lnTo>
                    <a:lnTo>
                      <a:pt x="377" y="1186"/>
                    </a:lnTo>
                    <a:lnTo>
                      <a:pt x="450" y="1131"/>
                    </a:lnTo>
                    <a:lnTo>
                      <a:pt x="543" y="1127"/>
                    </a:lnTo>
                    <a:lnTo>
                      <a:pt x="646" y="1052"/>
                    </a:lnTo>
                    <a:lnTo>
                      <a:pt x="746" y="1048"/>
                    </a:lnTo>
                    <a:lnTo>
                      <a:pt x="780" y="996"/>
                    </a:lnTo>
                    <a:lnTo>
                      <a:pt x="911" y="975"/>
                    </a:lnTo>
                    <a:lnTo>
                      <a:pt x="939" y="931"/>
                    </a:lnTo>
                    <a:lnTo>
                      <a:pt x="966" y="942"/>
                    </a:lnTo>
                    <a:lnTo>
                      <a:pt x="773" y="525"/>
                    </a:lnTo>
                    <a:lnTo>
                      <a:pt x="416" y="0"/>
                    </a:lnTo>
                    <a:lnTo>
                      <a:pt x="0" y="398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" name="Freeform 497"/>
              <p:cNvSpPr>
                <a:spLocks/>
              </p:cNvSpPr>
              <p:nvPr/>
            </p:nvSpPr>
            <p:spPr bwMode="auto">
              <a:xfrm>
                <a:off x="4723" y="1966"/>
                <a:ext cx="356" cy="123"/>
              </a:xfrm>
              <a:custGeom>
                <a:avLst/>
                <a:gdLst>
                  <a:gd name="T0" fmla="*/ 322 w 1067"/>
                  <a:gd name="T1" fmla="*/ 140 h 368"/>
                  <a:gd name="T2" fmla="*/ 331 w 1067"/>
                  <a:gd name="T3" fmla="*/ 216 h 368"/>
                  <a:gd name="T4" fmla="*/ 945 w 1067"/>
                  <a:gd name="T5" fmla="*/ 0 h 368"/>
                  <a:gd name="T6" fmla="*/ 1067 w 1067"/>
                  <a:gd name="T7" fmla="*/ 58 h 368"/>
                  <a:gd name="T8" fmla="*/ 994 w 1067"/>
                  <a:gd name="T9" fmla="*/ 92 h 368"/>
                  <a:gd name="T10" fmla="*/ 863 w 1067"/>
                  <a:gd name="T11" fmla="*/ 106 h 368"/>
                  <a:gd name="T12" fmla="*/ 819 w 1067"/>
                  <a:gd name="T13" fmla="*/ 147 h 368"/>
                  <a:gd name="T14" fmla="*/ 708 w 1067"/>
                  <a:gd name="T15" fmla="*/ 154 h 368"/>
                  <a:gd name="T16" fmla="*/ 660 w 1067"/>
                  <a:gd name="T17" fmla="*/ 219 h 368"/>
                  <a:gd name="T18" fmla="*/ 568 w 1067"/>
                  <a:gd name="T19" fmla="*/ 206 h 368"/>
                  <a:gd name="T20" fmla="*/ 526 w 1067"/>
                  <a:gd name="T21" fmla="*/ 255 h 368"/>
                  <a:gd name="T22" fmla="*/ 433 w 1067"/>
                  <a:gd name="T23" fmla="*/ 240 h 368"/>
                  <a:gd name="T24" fmla="*/ 384 w 1067"/>
                  <a:gd name="T25" fmla="*/ 299 h 368"/>
                  <a:gd name="T26" fmla="*/ 282 w 1067"/>
                  <a:gd name="T27" fmla="*/ 278 h 368"/>
                  <a:gd name="T28" fmla="*/ 230 w 1067"/>
                  <a:gd name="T29" fmla="*/ 326 h 368"/>
                  <a:gd name="T30" fmla="*/ 135 w 1067"/>
                  <a:gd name="T31" fmla="*/ 317 h 368"/>
                  <a:gd name="T32" fmla="*/ 85 w 1067"/>
                  <a:gd name="T33" fmla="*/ 354 h 368"/>
                  <a:gd name="T34" fmla="*/ 0 w 1067"/>
                  <a:gd name="T35" fmla="*/ 368 h 368"/>
                  <a:gd name="T36" fmla="*/ 147 w 1067"/>
                  <a:gd name="T37" fmla="*/ 189 h 368"/>
                  <a:gd name="T38" fmla="*/ 322 w 1067"/>
                  <a:gd name="T39" fmla="*/ 140 h 368"/>
                  <a:gd name="T40" fmla="*/ 322 w 1067"/>
                  <a:gd name="T41" fmla="*/ 140 h 36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67"/>
                  <a:gd name="T64" fmla="*/ 0 h 368"/>
                  <a:gd name="T65" fmla="*/ 1067 w 1067"/>
                  <a:gd name="T66" fmla="*/ 368 h 36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67" h="368">
                    <a:moveTo>
                      <a:pt x="322" y="140"/>
                    </a:moveTo>
                    <a:lnTo>
                      <a:pt x="331" y="216"/>
                    </a:lnTo>
                    <a:lnTo>
                      <a:pt x="945" y="0"/>
                    </a:lnTo>
                    <a:lnTo>
                      <a:pt x="1067" y="58"/>
                    </a:lnTo>
                    <a:lnTo>
                      <a:pt x="994" y="92"/>
                    </a:lnTo>
                    <a:lnTo>
                      <a:pt x="863" y="106"/>
                    </a:lnTo>
                    <a:lnTo>
                      <a:pt x="819" y="147"/>
                    </a:lnTo>
                    <a:lnTo>
                      <a:pt x="708" y="154"/>
                    </a:lnTo>
                    <a:lnTo>
                      <a:pt x="660" y="219"/>
                    </a:lnTo>
                    <a:lnTo>
                      <a:pt x="568" y="206"/>
                    </a:lnTo>
                    <a:lnTo>
                      <a:pt x="526" y="255"/>
                    </a:lnTo>
                    <a:lnTo>
                      <a:pt x="433" y="240"/>
                    </a:lnTo>
                    <a:lnTo>
                      <a:pt x="384" y="299"/>
                    </a:lnTo>
                    <a:lnTo>
                      <a:pt x="282" y="278"/>
                    </a:lnTo>
                    <a:lnTo>
                      <a:pt x="230" y="326"/>
                    </a:lnTo>
                    <a:lnTo>
                      <a:pt x="135" y="317"/>
                    </a:lnTo>
                    <a:lnTo>
                      <a:pt x="85" y="354"/>
                    </a:lnTo>
                    <a:lnTo>
                      <a:pt x="0" y="368"/>
                    </a:lnTo>
                    <a:lnTo>
                      <a:pt x="147" y="189"/>
                    </a:lnTo>
                    <a:lnTo>
                      <a:pt x="322" y="14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" name="Freeform 498"/>
              <p:cNvSpPr>
                <a:spLocks/>
              </p:cNvSpPr>
              <p:nvPr/>
            </p:nvSpPr>
            <p:spPr bwMode="auto">
              <a:xfrm>
                <a:off x="4848" y="1890"/>
                <a:ext cx="68" cy="41"/>
              </a:xfrm>
              <a:custGeom>
                <a:avLst/>
                <a:gdLst>
                  <a:gd name="T0" fmla="*/ 96 w 202"/>
                  <a:gd name="T1" fmla="*/ 0 h 124"/>
                  <a:gd name="T2" fmla="*/ 0 w 202"/>
                  <a:gd name="T3" fmla="*/ 124 h 124"/>
                  <a:gd name="T4" fmla="*/ 110 w 202"/>
                  <a:gd name="T5" fmla="*/ 107 h 124"/>
                  <a:gd name="T6" fmla="*/ 202 w 202"/>
                  <a:gd name="T7" fmla="*/ 28 h 124"/>
                  <a:gd name="T8" fmla="*/ 96 w 202"/>
                  <a:gd name="T9" fmla="*/ 0 h 124"/>
                  <a:gd name="T10" fmla="*/ 96 w 202"/>
                  <a:gd name="T11" fmla="*/ 0 h 1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2"/>
                  <a:gd name="T19" fmla="*/ 0 h 124"/>
                  <a:gd name="T20" fmla="*/ 202 w 202"/>
                  <a:gd name="T21" fmla="*/ 124 h 1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2" h="124">
                    <a:moveTo>
                      <a:pt x="96" y="0"/>
                    </a:moveTo>
                    <a:lnTo>
                      <a:pt x="0" y="124"/>
                    </a:lnTo>
                    <a:lnTo>
                      <a:pt x="110" y="107"/>
                    </a:lnTo>
                    <a:lnTo>
                      <a:pt x="202" y="28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" name="Freeform 499"/>
              <p:cNvSpPr>
                <a:spLocks/>
              </p:cNvSpPr>
              <p:nvPr/>
            </p:nvSpPr>
            <p:spPr bwMode="auto">
              <a:xfrm>
                <a:off x="4957" y="1729"/>
                <a:ext cx="45" cy="44"/>
              </a:xfrm>
              <a:custGeom>
                <a:avLst/>
                <a:gdLst>
                  <a:gd name="T0" fmla="*/ 131 w 134"/>
                  <a:gd name="T1" fmla="*/ 0 h 131"/>
                  <a:gd name="T2" fmla="*/ 0 w 134"/>
                  <a:gd name="T3" fmla="*/ 131 h 131"/>
                  <a:gd name="T4" fmla="*/ 134 w 134"/>
                  <a:gd name="T5" fmla="*/ 115 h 131"/>
                  <a:gd name="T6" fmla="*/ 131 w 134"/>
                  <a:gd name="T7" fmla="*/ 0 h 131"/>
                  <a:gd name="T8" fmla="*/ 131 w 134"/>
                  <a:gd name="T9" fmla="*/ 0 h 1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4"/>
                  <a:gd name="T16" fmla="*/ 0 h 131"/>
                  <a:gd name="T17" fmla="*/ 134 w 134"/>
                  <a:gd name="T18" fmla="*/ 131 h 1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4" h="131">
                    <a:moveTo>
                      <a:pt x="131" y="0"/>
                    </a:moveTo>
                    <a:lnTo>
                      <a:pt x="0" y="131"/>
                    </a:lnTo>
                    <a:lnTo>
                      <a:pt x="134" y="115"/>
                    </a:lnTo>
                    <a:lnTo>
                      <a:pt x="131" y="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Freeform 500"/>
              <p:cNvSpPr>
                <a:spLocks/>
              </p:cNvSpPr>
              <p:nvPr/>
            </p:nvSpPr>
            <p:spPr bwMode="auto">
              <a:xfrm>
                <a:off x="4813" y="1400"/>
                <a:ext cx="20" cy="51"/>
              </a:xfrm>
              <a:custGeom>
                <a:avLst/>
                <a:gdLst>
                  <a:gd name="T0" fmla="*/ 6 w 61"/>
                  <a:gd name="T1" fmla="*/ 0 h 154"/>
                  <a:gd name="T2" fmla="*/ 0 w 61"/>
                  <a:gd name="T3" fmla="*/ 154 h 154"/>
                  <a:gd name="T4" fmla="*/ 61 w 61"/>
                  <a:gd name="T5" fmla="*/ 110 h 154"/>
                  <a:gd name="T6" fmla="*/ 6 w 61"/>
                  <a:gd name="T7" fmla="*/ 0 h 154"/>
                  <a:gd name="T8" fmla="*/ 6 w 61"/>
                  <a:gd name="T9" fmla="*/ 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"/>
                  <a:gd name="T16" fmla="*/ 0 h 154"/>
                  <a:gd name="T17" fmla="*/ 61 w 61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" h="154">
                    <a:moveTo>
                      <a:pt x="6" y="0"/>
                    </a:moveTo>
                    <a:lnTo>
                      <a:pt x="0" y="154"/>
                    </a:lnTo>
                    <a:lnTo>
                      <a:pt x="61" y="11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Freeform 501"/>
              <p:cNvSpPr>
                <a:spLocks/>
              </p:cNvSpPr>
              <p:nvPr/>
            </p:nvSpPr>
            <p:spPr bwMode="auto">
              <a:xfrm>
                <a:off x="4934" y="1436"/>
                <a:ext cx="46" cy="37"/>
              </a:xfrm>
              <a:custGeom>
                <a:avLst/>
                <a:gdLst>
                  <a:gd name="T0" fmla="*/ 116 w 138"/>
                  <a:gd name="T1" fmla="*/ 0 h 110"/>
                  <a:gd name="T2" fmla="*/ 0 w 138"/>
                  <a:gd name="T3" fmla="*/ 99 h 110"/>
                  <a:gd name="T4" fmla="*/ 138 w 138"/>
                  <a:gd name="T5" fmla="*/ 110 h 110"/>
                  <a:gd name="T6" fmla="*/ 116 w 138"/>
                  <a:gd name="T7" fmla="*/ 0 h 110"/>
                  <a:gd name="T8" fmla="*/ 116 w 138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8"/>
                  <a:gd name="T16" fmla="*/ 0 h 110"/>
                  <a:gd name="T17" fmla="*/ 138 w 138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8" h="110">
                    <a:moveTo>
                      <a:pt x="116" y="0"/>
                    </a:moveTo>
                    <a:lnTo>
                      <a:pt x="0" y="99"/>
                    </a:lnTo>
                    <a:lnTo>
                      <a:pt x="138" y="11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502"/>
              <p:cNvSpPr>
                <a:spLocks/>
              </p:cNvSpPr>
              <p:nvPr/>
            </p:nvSpPr>
            <p:spPr bwMode="auto">
              <a:xfrm>
                <a:off x="4840" y="1517"/>
                <a:ext cx="37" cy="28"/>
              </a:xfrm>
              <a:custGeom>
                <a:avLst/>
                <a:gdLst>
                  <a:gd name="T0" fmla="*/ 0 w 110"/>
                  <a:gd name="T1" fmla="*/ 0 h 84"/>
                  <a:gd name="T2" fmla="*/ 72 w 110"/>
                  <a:gd name="T3" fmla="*/ 84 h 84"/>
                  <a:gd name="T4" fmla="*/ 110 w 110"/>
                  <a:gd name="T5" fmla="*/ 11 h 84"/>
                  <a:gd name="T6" fmla="*/ 0 w 110"/>
                  <a:gd name="T7" fmla="*/ 0 h 84"/>
                  <a:gd name="T8" fmla="*/ 0 w 110"/>
                  <a:gd name="T9" fmla="*/ 0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84"/>
                  <a:gd name="T17" fmla="*/ 110 w 110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84">
                    <a:moveTo>
                      <a:pt x="0" y="0"/>
                    </a:moveTo>
                    <a:lnTo>
                      <a:pt x="72" y="84"/>
                    </a:lnTo>
                    <a:lnTo>
                      <a:pt x="11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503"/>
              <p:cNvSpPr>
                <a:spLocks/>
              </p:cNvSpPr>
              <p:nvPr/>
            </p:nvSpPr>
            <p:spPr bwMode="auto">
              <a:xfrm>
                <a:off x="4506" y="1696"/>
                <a:ext cx="37" cy="57"/>
              </a:xfrm>
              <a:custGeom>
                <a:avLst/>
                <a:gdLst>
                  <a:gd name="T0" fmla="*/ 0 w 110"/>
                  <a:gd name="T1" fmla="*/ 66 h 170"/>
                  <a:gd name="T2" fmla="*/ 97 w 110"/>
                  <a:gd name="T3" fmla="*/ 170 h 170"/>
                  <a:gd name="T4" fmla="*/ 110 w 110"/>
                  <a:gd name="T5" fmla="*/ 0 h 170"/>
                  <a:gd name="T6" fmla="*/ 0 w 110"/>
                  <a:gd name="T7" fmla="*/ 66 h 170"/>
                  <a:gd name="T8" fmla="*/ 0 w 110"/>
                  <a:gd name="T9" fmla="*/ 66 h 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170"/>
                  <a:gd name="T17" fmla="*/ 110 w 110"/>
                  <a:gd name="T18" fmla="*/ 170 h 1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170">
                    <a:moveTo>
                      <a:pt x="0" y="66"/>
                    </a:moveTo>
                    <a:lnTo>
                      <a:pt x="97" y="170"/>
                    </a:lnTo>
                    <a:lnTo>
                      <a:pt x="110" y="0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Freeform 504"/>
              <p:cNvSpPr>
                <a:spLocks/>
              </p:cNvSpPr>
              <p:nvPr/>
            </p:nvSpPr>
            <p:spPr bwMode="auto">
              <a:xfrm>
                <a:off x="4516" y="1829"/>
                <a:ext cx="47" cy="22"/>
              </a:xfrm>
              <a:custGeom>
                <a:avLst/>
                <a:gdLst>
                  <a:gd name="T0" fmla="*/ 79 w 140"/>
                  <a:gd name="T1" fmla="*/ 0 h 66"/>
                  <a:gd name="T2" fmla="*/ 0 w 140"/>
                  <a:gd name="T3" fmla="*/ 66 h 66"/>
                  <a:gd name="T4" fmla="*/ 140 w 140"/>
                  <a:gd name="T5" fmla="*/ 60 h 66"/>
                  <a:gd name="T6" fmla="*/ 79 w 140"/>
                  <a:gd name="T7" fmla="*/ 0 h 66"/>
                  <a:gd name="T8" fmla="*/ 79 w 140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66"/>
                  <a:gd name="T17" fmla="*/ 140 w 140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66">
                    <a:moveTo>
                      <a:pt x="79" y="0"/>
                    </a:moveTo>
                    <a:lnTo>
                      <a:pt x="0" y="66"/>
                    </a:lnTo>
                    <a:lnTo>
                      <a:pt x="140" y="60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Freeform 505"/>
              <p:cNvSpPr>
                <a:spLocks/>
              </p:cNvSpPr>
              <p:nvPr/>
            </p:nvSpPr>
            <p:spPr bwMode="auto">
              <a:xfrm>
                <a:off x="4458" y="1779"/>
                <a:ext cx="20" cy="29"/>
              </a:xfrm>
              <a:custGeom>
                <a:avLst/>
                <a:gdLst>
                  <a:gd name="T0" fmla="*/ 0 w 60"/>
                  <a:gd name="T1" fmla="*/ 88 h 88"/>
                  <a:gd name="T2" fmla="*/ 60 w 60"/>
                  <a:gd name="T3" fmla="*/ 83 h 88"/>
                  <a:gd name="T4" fmla="*/ 27 w 60"/>
                  <a:gd name="T5" fmla="*/ 0 h 88"/>
                  <a:gd name="T6" fmla="*/ 0 w 60"/>
                  <a:gd name="T7" fmla="*/ 88 h 88"/>
                  <a:gd name="T8" fmla="*/ 0 w 60"/>
                  <a:gd name="T9" fmla="*/ 88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0"/>
                  <a:gd name="T16" fmla="*/ 0 h 88"/>
                  <a:gd name="T17" fmla="*/ 60 w 60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0" h="88">
                    <a:moveTo>
                      <a:pt x="0" y="88"/>
                    </a:moveTo>
                    <a:lnTo>
                      <a:pt x="60" y="83"/>
                    </a:lnTo>
                    <a:lnTo>
                      <a:pt x="27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Freeform 506"/>
              <p:cNvSpPr>
                <a:spLocks/>
              </p:cNvSpPr>
              <p:nvPr/>
            </p:nvSpPr>
            <p:spPr bwMode="auto">
              <a:xfrm>
                <a:off x="4737" y="1527"/>
                <a:ext cx="28" cy="25"/>
              </a:xfrm>
              <a:custGeom>
                <a:avLst/>
                <a:gdLst>
                  <a:gd name="T0" fmla="*/ 0 w 83"/>
                  <a:gd name="T1" fmla="*/ 0 h 76"/>
                  <a:gd name="T2" fmla="*/ 83 w 83"/>
                  <a:gd name="T3" fmla="*/ 17 h 76"/>
                  <a:gd name="T4" fmla="*/ 39 w 83"/>
                  <a:gd name="T5" fmla="*/ 76 h 76"/>
                  <a:gd name="T6" fmla="*/ 0 w 83"/>
                  <a:gd name="T7" fmla="*/ 0 h 76"/>
                  <a:gd name="T8" fmla="*/ 0 w 83"/>
                  <a:gd name="T9" fmla="*/ 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3"/>
                  <a:gd name="T16" fmla="*/ 0 h 76"/>
                  <a:gd name="T17" fmla="*/ 83 w 83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3" h="76">
                    <a:moveTo>
                      <a:pt x="0" y="0"/>
                    </a:moveTo>
                    <a:lnTo>
                      <a:pt x="83" y="17"/>
                    </a:lnTo>
                    <a:lnTo>
                      <a:pt x="39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" name="Freeform 507"/>
              <p:cNvSpPr>
                <a:spLocks/>
              </p:cNvSpPr>
              <p:nvPr/>
            </p:nvSpPr>
            <p:spPr bwMode="auto">
              <a:xfrm>
                <a:off x="5238" y="1556"/>
                <a:ext cx="27" cy="22"/>
              </a:xfrm>
              <a:custGeom>
                <a:avLst/>
                <a:gdLst>
                  <a:gd name="T0" fmla="*/ 0 w 82"/>
                  <a:gd name="T1" fmla="*/ 0 h 66"/>
                  <a:gd name="T2" fmla="*/ 0 w 82"/>
                  <a:gd name="T3" fmla="*/ 66 h 66"/>
                  <a:gd name="T4" fmla="*/ 82 w 82"/>
                  <a:gd name="T5" fmla="*/ 38 h 66"/>
                  <a:gd name="T6" fmla="*/ 0 w 82"/>
                  <a:gd name="T7" fmla="*/ 0 h 66"/>
                  <a:gd name="T8" fmla="*/ 0 w 82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66"/>
                  <a:gd name="T17" fmla="*/ 82 w 82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66">
                    <a:moveTo>
                      <a:pt x="0" y="0"/>
                    </a:moveTo>
                    <a:lnTo>
                      <a:pt x="0" y="66"/>
                    </a:lnTo>
                    <a:lnTo>
                      <a:pt x="82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Freeform 508"/>
              <p:cNvSpPr>
                <a:spLocks/>
              </p:cNvSpPr>
              <p:nvPr/>
            </p:nvSpPr>
            <p:spPr bwMode="auto">
              <a:xfrm>
                <a:off x="5271" y="1621"/>
                <a:ext cx="22" cy="36"/>
              </a:xfrm>
              <a:custGeom>
                <a:avLst/>
                <a:gdLst>
                  <a:gd name="T0" fmla="*/ 0 w 65"/>
                  <a:gd name="T1" fmla="*/ 0 h 110"/>
                  <a:gd name="T2" fmla="*/ 22 w 65"/>
                  <a:gd name="T3" fmla="*/ 110 h 110"/>
                  <a:gd name="T4" fmla="*/ 65 w 65"/>
                  <a:gd name="T5" fmla="*/ 27 h 110"/>
                  <a:gd name="T6" fmla="*/ 0 w 65"/>
                  <a:gd name="T7" fmla="*/ 0 h 110"/>
                  <a:gd name="T8" fmla="*/ 0 w 65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5"/>
                  <a:gd name="T16" fmla="*/ 0 h 110"/>
                  <a:gd name="T17" fmla="*/ 65 w 65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5" h="110">
                    <a:moveTo>
                      <a:pt x="0" y="0"/>
                    </a:moveTo>
                    <a:lnTo>
                      <a:pt x="22" y="110"/>
                    </a:lnTo>
                    <a:lnTo>
                      <a:pt x="65" y="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Freeform 509"/>
              <p:cNvSpPr>
                <a:spLocks/>
              </p:cNvSpPr>
              <p:nvPr/>
            </p:nvSpPr>
            <p:spPr bwMode="auto">
              <a:xfrm>
                <a:off x="4787" y="1935"/>
                <a:ext cx="199" cy="61"/>
              </a:xfrm>
              <a:custGeom>
                <a:avLst/>
                <a:gdLst>
                  <a:gd name="T0" fmla="*/ 0 w 597"/>
                  <a:gd name="T1" fmla="*/ 149 h 184"/>
                  <a:gd name="T2" fmla="*/ 0 w 597"/>
                  <a:gd name="T3" fmla="*/ 184 h 184"/>
                  <a:gd name="T4" fmla="*/ 597 w 597"/>
                  <a:gd name="T5" fmla="*/ 20 h 184"/>
                  <a:gd name="T6" fmla="*/ 560 w 597"/>
                  <a:gd name="T7" fmla="*/ 0 h 184"/>
                  <a:gd name="T8" fmla="*/ 0 w 597"/>
                  <a:gd name="T9" fmla="*/ 149 h 184"/>
                  <a:gd name="T10" fmla="*/ 0 w 597"/>
                  <a:gd name="T11" fmla="*/ 149 h 1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97"/>
                  <a:gd name="T19" fmla="*/ 0 h 184"/>
                  <a:gd name="T20" fmla="*/ 597 w 597"/>
                  <a:gd name="T21" fmla="*/ 184 h 1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97" h="184">
                    <a:moveTo>
                      <a:pt x="0" y="149"/>
                    </a:moveTo>
                    <a:lnTo>
                      <a:pt x="0" y="184"/>
                    </a:lnTo>
                    <a:lnTo>
                      <a:pt x="597" y="20"/>
                    </a:lnTo>
                    <a:lnTo>
                      <a:pt x="560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Freeform 510"/>
              <p:cNvSpPr>
                <a:spLocks/>
              </p:cNvSpPr>
              <p:nvPr/>
            </p:nvSpPr>
            <p:spPr bwMode="auto">
              <a:xfrm>
                <a:off x="5068" y="1891"/>
                <a:ext cx="101" cy="23"/>
              </a:xfrm>
              <a:custGeom>
                <a:avLst/>
                <a:gdLst>
                  <a:gd name="T0" fmla="*/ 0 w 303"/>
                  <a:gd name="T1" fmla="*/ 49 h 71"/>
                  <a:gd name="T2" fmla="*/ 37 w 303"/>
                  <a:gd name="T3" fmla="*/ 71 h 71"/>
                  <a:gd name="T4" fmla="*/ 296 w 303"/>
                  <a:gd name="T5" fmla="*/ 19 h 71"/>
                  <a:gd name="T6" fmla="*/ 303 w 303"/>
                  <a:gd name="T7" fmla="*/ 0 h 71"/>
                  <a:gd name="T8" fmla="*/ 0 w 303"/>
                  <a:gd name="T9" fmla="*/ 49 h 71"/>
                  <a:gd name="T10" fmla="*/ 0 w 303"/>
                  <a:gd name="T11" fmla="*/ 49 h 7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3"/>
                  <a:gd name="T19" fmla="*/ 0 h 71"/>
                  <a:gd name="T20" fmla="*/ 303 w 303"/>
                  <a:gd name="T21" fmla="*/ 71 h 7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3" h="71">
                    <a:moveTo>
                      <a:pt x="0" y="49"/>
                    </a:moveTo>
                    <a:lnTo>
                      <a:pt x="37" y="71"/>
                    </a:lnTo>
                    <a:lnTo>
                      <a:pt x="296" y="19"/>
                    </a:lnTo>
                    <a:lnTo>
                      <a:pt x="303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" name="Freeform 511"/>
              <p:cNvSpPr>
                <a:spLocks/>
              </p:cNvSpPr>
              <p:nvPr/>
            </p:nvSpPr>
            <p:spPr bwMode="auto">
              <a:xfrm>
                <a:off x="4368" y="1354"/>
                <a:ext cx="453" cy="461"/>
              </a:xfrm>
              <a:custGeom>
                <a:avLst/>
                <a:gdLst>
                  <a:gd name="T0" fmla="*/ 1358 w 1358"/>
                  <a:gd name="T1" fmla="*/ 51 h 1384"/>
                  <a:gd name="T2" fmla="*/ 1020 w 1358"/>
                  <a:gd name="T3" fmla="*/ 354 h 1384"/>
                  <a:gd name="T4" fmla="*/ 616 w 1358"/>
                  <a:gd name="T5" fmla="*/ 776 h 1384"/>
                  <a:gd name="T6" fmla="*/ 240 w 1358"/>
                  <a:gd name="T7" fmla="*/ 1181 h 1384"/>
                  <a:gd name="T8" fmla="*/ 63 w 1358"/>
                  <a:gd name="T9" fmla="*/ 1384 h 1384"/>
                  <a:gd name="T10" fmla="*/ 0 w 1358"/>
                  <a:gd name="T11" fmla="*/ 1338 h 1384"/>
                  <a:gd name="T12" fmla="*/ 225 w 1358"/>
                  <a:gd name="T13" fmla="*/ 1143 h 1384"/>
                  <a:gd name="T14" fmla="*/ 580 w 1358"/>
                  <a:gd name="T15" fmla="*/ 765 h 1384"/>
                  <a:gd name="T16" fmla="*/ 994 w 1358"/>
                  <a:gd name="T17" fmla="*/ 335 h 1384"/>
                  <a:gd name="T18" fmla="*/ 1332 w 1358"/>
                  <a:gd name="T19" fmla="*/ 0 h 1384"/>
                  <a:gd name="T20" fmla="*/ 1358 w 1358"/>
                  <a:gd name="T21" fmla="*/ 51 h 1384"/>
                  <a:gd name="T22" fmla="*/ 1358 w 1358"/>
                  <a:gd name="T23" fmla="*/ 51 h 13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58"/>
                  <a:gd name="T37" fmla="*/ 0 h 1384"/>
                  <a:gd name="T38" fmla="*/ 1358 w 1358"/>
                  <a:gd name="T39" fmla="*/ 1384 h 138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58" h="1384">
                    <a:moveTo>
                      <a:pt x="1358" y="51"/>
                    </a:moveTo>
                    <a:lnTo>
                      <a:pt x="1020" y="354"/>
                    </a:lnTo>
                    <a:lnTo>
                      <a:pt x="616" y="776"/>
                    </a:lnTo>
                    <a:lnTo>
                      <a:pt x="240" y="1181"/>
                    </a:lnTo>
                    <a:lnTo>
                      <a:pt x="63" y="1384"/>
                    </a:lnTo>
                    <a:lnTo>
                      <a:pt x="0" y="1338"/>
                    </a:lnTo>
                    <a:lnTo>
                      <a:pt x="225" y="1143"/>
                    </a:lnTo>
                    <a:lnTo>
                      <a:pt x="580" y="765"/>
                    </a:lnTo>
                    <a:lnTo>
                      <a:pt x="994" y="335"/>
                    </a:lnTo>
                    <a:lnTo>
                      <a:pt x="1332" y="0"/>
                    </a:lnTo>
                    <a:lnTo>
                      <a:pt x="1358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" name="Freeform 512"/>
              <p:cNvSpPr>
                <a:spLocks/>
              </p:cNvSpPr>
              <p:nvPr/>
            </p:nvSpPr>
            <p:spPr bwMode="auto">
              <a:xfrm>
                <a:off x="4646" y="1573"/>
                <a:ext cx="20" cy="30"/>
              </a:xfrm>
              <a:custGeom>
                <a:avLst/>
                <a:gdLst>
                  <a:gd name="T0" fmla="*/ 0 w 60"/>
                  <a:gd name="T1" fmla="*/ 88 h 88"/>
                  <a:gd name="T2" fmla="*/ 60 w 60"/>
                  <a:gd name="T3" fmla="*/ 82 h 88"/>
                  <a:gd name="T4" fmla="*/ 27 w 60"/>
                  <a:gd name="T5" fmla="*/ 0 h 88"/>
                  <a:gd name="T6" fmla="*/ 0 w 60"/>
                  <a:gd name="T7" fmla="*/ 88 h 88"/>
                  <a:gd name="T8" fmla="*/ 0 w 60"/>
                  <a:gd name="T9" fmla="*/ 88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0"/>
                  <a:gd name="T16" fmla="*/ 0 h 88"/>
                  <a:gd name="T17" fmla="*/ 60 w 60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0" h="88">
                    <a:moveTo>
                      <a:pt x="0" y="88"/>
                    </a:moveTo>
                    <a:lnTo>
                      <a:pt x="60" y="82"/>
                    </a:lnTo>
                    <a:lnTo>
                      <a:pt x="27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" name="Freeform 513"/>
              <p:cNvSpPr>
                <a:spLocks/>
              </p:cNvSpPr>
              <p:nvPr/>
            </p:nvSpPr>
            <p:spPr bwMode="auto">
              <a:xfrm>
                <a:off x="4809" y="1353"/>
                <a:ext cx="582" cy="273"/>
              </a:xfrm>
              <a:custGeom>
                <a:avLst/>
                <a:gdLst>
                  <a:gd name="T0" fmla="*/ 0 w 1747"/>
                  <a:gd name="T1" fmla="*/ 0 h 817"/>
                  <a:gd name="T2" fmla="*/ 32 w 1747"/>
                  <a:gd name="T3" fmla="*/ 62 h 817"/>
                  <a:gd name="T4" fmla="*/ 724 w 1747"/>
                  <a:gd name="T5" fmla="*/ 292 h 817"/>
                  <a:gd name="T6" fmla="*/ 1664 w 1747"/>
                  <a:gd name="T7" fmla="*/ 731 h 817"/>
                  <a:gd name="T8" fmla="*/ 1601 w 1747"/>
                  <a:gd name="T9" fmla="*/ 817 h 817"/>
                  <a:gd name="T10" fmla="*/ 1710 w 1747"/>
                  <a:gd name="T11" fmla="*/ 745 h 817"/>
                  <a:gd name="T12" fmla="*/ 1747 w 1747"/>
                  <a:gd name="T13" fmla="*/ 723 h 817"/>
                  <a:gd name="T14" fmla="*/ 1000 w 1747"/>
                  <a:gd name="T15" fmla="*/ 362 h 817"/>
                  <a:gd name="T16" fmla="*/ 415 w 1747"/>
                  <a:gd name="T17" fmla="*/ 114 h 817"/>
                  <a:gd name="T18" fmla="*/ 0 w 1747"/>
                  <a:gd name="T19" fmla="*/ 0 h 817"/>
                  <a:gd name="T20" fmla="*/ 0 w 1747"/>
                  <a:gd name="T21" fmla="*/ 0 h 8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747"/>
                  <a:gd name="T34" fmla="*/ 0 h 817"/>
                  <a:gd name="T35" fmla="*/ 1747 w 1747"/>
                  <a:gd name="T36" fmla="*/ 817 h 81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747" h="817">
                    <a:moveTo>
                      <a:pt x="0" y="0"/>
                    </a:moveTo>
                    <a:lnTo>
                      <a:pt x="32" y="62"/>
                    </a:lnTo>
                    <a:lnTo>
                      <a:pt x="724" y="292"/>
                    </a:lnTo>
                    <a:lnTo>
                      <a:pt x="1664" y="731"/>
                    </a:lnTo>
                    <a:lnTo>
                      <a:pt x="1601" y="817"/>
                    </a:lnTo>
                    <a:lnTo>
                      <a:pt x="1710" y="745"/>
                    </a:lnTo>
                    <a:lnTo>
                      <a:pt x="1747" y="723"/>
                    </a:lnTo>
                    <a:lnTo>
                      <a:pt x="1000" y="362"/>
                    </a:lnTo>
                    <a:lnTo>
                      <a:pt x="415" y="1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79" name="Group 523"/>
            <p:cNvGrpSpPr>
              <a:grpSpLocks/>
            </p:cNvGrpSpPr>
            <p:nvPr/>
          </p:nvGrpSpPr>
          <p:grpSpPr bwMode="auto">
            <a:xfrm>
              <a:off x="5280" y="3390"/>
              <a:ext cx="144" cy="240"/>
              <a:chOff x="-737" y="922"/>
              <a:chExt cx="243" cy="332"/>
            </a:xfrm>
          </p:grpSpPr>
          <p:sp>
            <p:nvSpPr>
              <p:cNvPr id="40" name="Freeform 520"/>
              <p:cNvSpPr>
                <a:spLocks/>
              </p:cNvSpPr>
              <p:nvPr/>
            </p:nvSpPr>
            <p:spPr bwMode="auto">
              <a:xfrm>
                <a:off x="-737" y="922"/>
                <a:ext cx="243" cy="332"/>
              </a:xfrm>
              <a:custGeom>
                <a:avLst/>
                <a:gdLst>
                  <a:gd name="T0" fmla="*/ 31 w 243"/>
                  <a:gd name="T1" fmla="*/ 104 h 332"/>
                  <a:gd name="T2" fmla="*/ 18 w 243"/>
                  <a:gd name="T3" fmla="*/ 82 h 332"/>
                  <a:gd name="T4" fmla="*/ 17 w 243"/>
                  <a:gd name="T5" fmla="*/ 55 h 332"/>
                  <a:gd name="T6" fmla="*/ 36 w 243"/>
                  <a:gd name="T7" fmla="*/ 35 h 332"/>
                  <a:gd name="T8" fmla="*/ 73 w 243"/>
                  <a:gd name="T9" fmla="*/ 12 h 332"/>
                  <a:gd name="T10" fmla="*/ 119 w 243"/>
                  <a:gd name="T11" fmla="*/ 0 h 332"/>
                  <a:gd name="T12" fmla="*/ 147 w 243"/>
                  <a:gd name="T13" fmla="*/ 6 h 332"/>
                  <a:gd name="T14" fmla="*/ 172 w 243"/>
                  <a:gd name="T15" fmla="*/ 19 h 332"/>
                  <a:gd name="T16" fmla="*/ 190 w 243"/>
                  <a:gd name="T17" fmla="*/ 47 h 332"/>
                  <a:gd name="T18" fmla="*/ 189 w 243"/>
                  <a:gd name="T19" fmla="*/ 71 h 332"/>
                  <a:gd name="T20" fmla="*/ 180 w 243"/>
                  <a:gd name="T21" fmla="*/ 98 h 332"/>
                  <a:gd name="T22" fmla="*/ 210 w 243"/>
                  <a:gd name="T23" fmla="*/ 111 h 332"/>
                  <a:gd name="T24" fmla="*/ 231 w 243"/>
                  <a:gd name="T25" fmla="*/ 129 h 332"/>
                  <a:gd name="T26" fmla="*/ 243 w 243"/>
                  <a:gd name="T27" fmla="*/ 155 h 332"/>
                  <a:gd name="T28" fmla="*/ 242 w 243"/>
                  <a:gd name="T29" fmla="*/ 177 h 332"/>
                  <a:gd name="T30" fmla="*/ 229 w 243"/>
                  <a:gd name="T31" fmla="*/ 200 h 332"/>
                  <a:gd name="T32" fmla="*/ 196 w 243"/>
                  <a:gd name="T33" fmla="*/ 235 h 332"/>
                  <a:gd name="T34" fmla="*/ 218 w 243"/>
                  <a:gd name="T35" fmla="*/ 253 h 332"/>
                  <a:gd name="T36" fmla="*/ 230 w 243"/>
                  <a:gd name="T37" fmla="*/ 277 h 332"/>
                  <a:gd name="T38" fmla="*/ 224 w 243"/>
                  <a:gd name="T39" fmla="*/ 305 h 332"/>
                  <a:gd name="T40" fmla="*/ 206 w 243"/>
                  <a:gd name="T41" fmla="*/ 322 h 332"/>
                  <a:gd name="T42" fmla="*/ 173 w 243"/>
                  <a:gd name="T43" fmla="*/ 332 h 332"/>
                  <a:gd name="T44" fmla="*/ 145 w 243"/>
                  <a:gd name="T45" fmla="*/ 329 h 332"/>
                  <a:gd name="T46" fmla="*/ 116 w 243"/>
                  <a:gd name="T47" fmla="*/ 318 h 332"/>
                  <a:gd name="T48" fmla="*/ 98 w 243"/>
                  <a:gd name="T49" fmla="*/ 303 h 332"/>
                  <a:gd name="T50" fmla="*/ 66 w 243"/>
                  <a:gd name="T51" fmla="*/ 305 h 332"/>
                  <a:gd name="T52" fmla="*/ 42 w 243"/>
                  <a:gd name="T53" fmla="*/ 300 h 332"/>
                  <a:gd name="T54" fmla="*/ 23 w 243"/>
                  <a:gd name="T55" fmla="*/ 287 h 332"/>
                  <a:gd name="T56" fmla="*/ 9 w 243"/>
                  <a:gd name="T57" fmla="*/ 264 h 332"/>
                  <a:gd name="T58" fmla="*/ 0 w 243"/>
                  <a:gd name="T59" fmla="*/ 241 h 332"/>
                  <a:gd name="T60" fmla="*/ 7 w 243"/>
                  <a:gd name="T61" fmla="*/ 217 h 332"/>
                  <a:gd name="T62" fmla="*/ 19 w 243"/>
                  <a:gd name="T63" fmla="*/ 203 h 332"/>
                  <a:gd name="T64" fmla="*/ 10 w 243"/>
                  <a:gd name="T65" fmla="*/ 173 h 332"/>
                  <a:gd name="T66" fmla="*/ 4 w 243"/>
                  <a:gd name="T67" fmla="*/ 143 h 332"/>
                  <a:gd name="T68" fmla="*/ 9 w 243"/>
                  <a:gd name="T69" fmla="*/ 119 h 332"/>
                  <a:gd name="T70" fmla="*/ 31 w 243"/>
                  <a:gd name="T71" fmla="*/ 104 h 33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43"/>
                  <a:gd name="T109" fmla="*/ 0 h 332"/>
                  <a:gd name="T110" fmla="*/ 243 w 243"/>
                  <a:gd name="T111" fmla="*/ 332 h 33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43" h="332">
                    <a:moveTo>
                      <a:pt x="31" y="104"/>
                    </a:moveTo>
                    <a:lnTo>
                      <a:pt x="18" y="82"/>
                    </a:lnTo>
                    <a:lnTo>
                      <a:pt x="17" y="55"/>
                    </a:lnTo>
                    <a:lnTo>
                      <a:pt x="36" y="35"/>
                    </a:lnTo>
                    <a:lnTo>
                      <a:pt x="73" y="12"/>
                    </a:lnTo>
                    <a:lnTo>
                      <a:pt x="119" y="0"/>
                    </a:lnTo>
                    <a:lnTo>
                      <a:pt x="147" y="6"/>
                    </a:lnTo>
                    <a:lnTo>
                      <a:pt x="172" y="19"/>
                    </a:lnTo>
                    <a:lnTo>
                      <a:pt x="190" y="47"/>
                    </a:lnTo>
                    <a:lnTo>
                      <a:pt x="189" y="71"/>
                    </a:lnTo>
                    <a:lnTo>
                      <a:pt x="180" y="98"/>
                    </a:lnTo>
                    <a:lnTo>
                      <a:pt x="210" y="111"/>
                    </a:lnTo>
                    <a:lnTo>
                      <a:pt x="231" y="129"/>
                    </a:lnTo>
                    <a:lnTo>
                      <a:pt x="243" y="155"/>
                    </a:lnTo>
                    <a:lnTo>
                      <a:pt x="242" y="177"/>
                    </a:lnTo>
                    <a:lnTo>
                      <a:pt x="229" y="200"/>
                    </a:lnTo>
                    <a:lnTo>
                      <a:pt x="196" y="235"/>
                    </a:lnTo>
                    <a:lnTo>
                      <a:pt x="218" y="253"/>
                    </a:lnTo>
                    <a:lnTo>
                      <a:pt x="230" y="277"/>
                    </a:lnTo>
                    <a:lnTo>
                      <a:pt x="224" y="305"/>
                    </a:lnTo>
                    <a:lnTo>
                      <a:pt x="206" y="322"/>
                    </a:lnTo>
                    <a:lnTo>
                      <a:pt x="173" y="332"/>
                    </a:lnTo>
                    <a:lnTo>
                      <a:pt x="145" y="329"/>
                    </a:lnTo>
                    <a:lnTo>
                      <a:pt x="116" y="318"/>
                    </a:lnTo>
                    <a:lnTo>
                      <a:pt x="98" y="303"/>
                    </a:lnTo>
                    <a:lnTo>
                      <a:pt x="66" y="305"/>
                    </a:lnTo>
                    <a:lnTo>
                      <a:pt x="42" y="300"/>
                    </a:lnTo>
                    <a:lnTo>
                      <a:pt x="23" y="287"/>
                    </a:lnTo>
                    <a:lnTo>
                      <a:pt x="9" y="264"/>
                    </a:lnTo>
                    <a:lnTo>
                      <a:pt x="0" y="241"/>
                    </a:lnTo>
                    <a:lnTo>
                      <a:pt x="7" y="217"/>
                    </a:lnTo>
                    <a:lnTo>
                      <a:pt x="19" y="203"/>
                    </a:lnTo>
                    <a:lnTo>
                      <a:pt x="10" y="173"/>
                    </a:lnTo>
                    <a:lnTo>
                      <a:pt x="4" y="143"/>
                    </a:lnTo>
                    <a:lnTo>
                      <a:pt x="9" y="119"/>
                    </a:lnTo>
                    <a:lnTo>
                      <a:pt x="31" y="1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Freeform 521"/>
              <p:cNvSpPr>
                <a:spLocks/>
              </p:cNvSpPr>
              <p:nvPr/>
            </p:nvSpPr>
            <p:spPr bwMode="auto">
              <a:xfrm>
                <a:off x="-720" y="938"/>
                <a:ext cx="209" cy="300"/>
              </a:xfrm>
              <a:custGeom>
                <a:avLst/>
                <a:gdLst>
                  <a:gd name="T0" fmla="*/ 41 w 209"/>
                  <a:gd name="T1" fmla="*/ 91 h 300"/>
                  <a:gd name="T2" fmla="*/ 25 w 209"/>
                  <a:gd name="T3" fmla="*/ 73 h 300"/>
                  <a:gd name="T4" fmla="*/ 18 w 209"/>
                  <a:gd name="T5" fmla="*/ 53 h 300"/>
                  <a:gd name="T6" fmla="*/ 22 w 209"/>
                  <a:gd name="T7" fmla="*/ 38 h 300"/>
                  <a:gd name="T8" fmla="*/ 41 w 209"/>
                  <a:gd name="T9" fmla="*/ 20 h 300"/>
                  <a:gd name="T10" fmla="*/ 73 w 209"/>
                  <a:gd name="T11" fmla="*/ 7 h 300"/>
                  <a:gd name="T12" fmla="*/ 110 w 209"/>
                  <a:gd name="T13" fmla="*/ 0 h 300"/>
                  <a:gd name="T14" fmla="*/ 140 w 209"/>
                  <a:gd name="T15" fmla="*/ 12 h 300"/>
                  <a:gd name="T16" fmla="*/ 155 w 209"/>
                  <a:gd name="T17" fmla="*/ 31 h 300"/>
                  <a:gd name="T18" fmla="*/ 158 w 209"/>
                  <a:gd name="T19" fmla="*/ 48 h 300"/>
                  <a:gd name="T20" fmla="*/ 153 w 209"/>
                  <a:gd name="T21" fmla="*/ 66 h 300"/>
                  <a:gd name="T22" fmla="*/ 140 w 209"/>
                  <a:gd name="T23" fmla="*/ 89 h 300"/>
                  <a:gd name="T24" fmla="*/ 149 w 209"/>
                  <a:gd name="T25" fmla="*/ 96 h 300"/>
                  <a:gd name="T26" fmla="*/ 184 w 209"/>
                  <a:gd name="T27" fmla="*/ 105 h 300"/>
                  <a:gd name="T28" fmla="*/ 204 w 209"/>
                  <a:gd name="T29" fmla="*/ 126 h 300"/>
                  <a:gd name="T30" fmla="*/ 209 w 209"/>
                  <a:gd name="T31" fmla="*/ 149 h 300"/>
                  <a:gd name="T32" fmla="*/ 197 w 209"/>
                  <a:gd name="T33" fmla="*/ 170 h 300"/>
                  <a:gd name="T34" fmla="*/ 180 w 209"/>
                  <a:gd name="T35" fmla="*/ 195 h 300"/>
                  <a:gd name="T36" fmla="*/ 160 w 209"/>
                  <a:gd name="T37" fmla="*/ 215 h 300"/>
                  <a:gd name="T38" fmla="*/ 165 w 209"/>
                  <a:gd name="T39" fmla="*/ 222 h 300"/>
                  <a:gd name="T40" fmla="*/ 185 w 209"/>
                  <a:gd name="T41" fmla="*/ 240 h 300"/>
                  <a:gd name="T42" fmla="*/ 192 w 209"/>
                  <a:gd name="T43" fmla="*/ 256 h 300"/>
                  <a:gd name="T44" fmla="*/ 189 w 209"/>
                  <a:gd name="T45" fmla="*/ 276 h 300"/>
                  <a:gd name="T46" fmla="*/ 181 w 209"/>
                  <a:gd name="T47" fmla="*/ 293 h 300"/>
                  <a:gd name="T48" fmla="*/ 159 w 209"/>
                  <a:gd name="T49" fmla="*/ 300 h 300"/>
                  <a:gd name="T50" fmla="*/ 120 w 209"/>
                  <a:gd name="T51" fmla="*/ 293 h 300"/>
                  <a:gd name="T52" fmla="*/ 94 w 209"/>
                  <a:gd name="T53" fmla="*/ 269 h 300"/>
                  <a:gd name="T54" fmla="*/ 81 w 209"/>
                  <a:gd name="T55" fmla="*/ 270 h 300"/>
                  <a:gd name="T56" fmla="*/ 67 w 209"/>
                  <a:gd name="T57" fmla="*/ 274 h 300"/>
                  <a:gd name="T58" fmla="*/ 41 w 209"/>
                  <a:gd name="T59" fmla="*/ 272 h 300"/>
                  <a:gd name="T60" fmla="*/ 21 w 209"/>
                  <a:gd name="T61" fmla="*/ 259 h 300"/>
                  <a:gd name="T62" fmla="*/ 3 w 209"/>
                  <a:gd name="T63" fmla="*/ 230 h 300"/>
                  <a:gd name="T64" fmla="*/ 9 w 209"/>
                  <a:gd name="T65" fmla="*/ 203 h 300"/>
                  <a:gd name="T66" fmla="*/ 23 w 209"/>
                  <a:gd name="T67" fmla="*/ 192 h 300"/>
                  <a:gd name="T68" fmla="*/ 20 w 209"/>
                  <a:gd name="T69" fmla="*/ 180 h 300"/>
                  <a:gd name="T70" fmla="*/ 3 w 209"/>
                  <a:gd name="T71" fmla="*/ 149 h 300"/>
                  <a:gd name="T72" fmla="*/ 0 w 209"/>
                  <a:gd name="T73" fmla="*/ 128 h 300"/>
                  <a:gd name="T74" fmla="*/ 9 w 209"/>
                  <a:gd name="T75" fmla="*/ 107 h 300"/>
                  <a:gd name="T76" fmla="*/ 26 w 209"/>
                  <a:gd name="T77" fmla="*/ 97 h 300"/>
                  <a:gd name="T78" fmla="*/ 41 w 209"/>
                  <a:gd name="T79" fmla="*/ 91 h 30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09"/>
                  <a:gd name="T121" fmla="*/ 0 h 300"/>
                  <a:gd name="T122" fmla="*/ 209 w 209"/>
                  <a:gd name="T123" fmla="*/ 300 h 30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09" h="300">
                    <a:moveTo>
                      <a:pt x="41" y="91"/>
                    </a:moveTo>
                    <a:lnTo>
                      <a:pt x="25" y="73"/>
                    </a:lnTo>
                    <a:lnTo>
                      <a:pt x="18" y="53"/>
                    </a:lnTo>
                    <a:lnTo>
                      <a:pt x="22" y="38"/>
                    </a:lnTo>
                    <a:lnTo>
                      <a:pt x="41" y="20"/>
                    </a:lnTo>
                    <a:lnTo>
                      <a:pt x="73" y="7"/>
                    </a:lnTo>
                    <a:lnTo>
                      <a:pt x="110" y="0"/>
                    </a:lnTo>
                    <a:lnTo>
                      <a:pt x="140" y="12"/>
                    </a:lnTo>
                    <a:lnTo>
                      <a:pt x="155" y="31"/>
                    </a:lnTo>
                    <a:lnTo>
                      <a:pt x="158" y="48"/>
                    </a:lnTo>
                    <a:lnTo>
                      <a:pt x="153" y="66"/>
                    </a:lnTo>
                    <a:lnTo>
                      <a:pt x="140" y="89"/>
                    </a:lnTo>
                    <a:lnTo>
                      <a:pt x="149" y="96"/>
                    </a:lnTo>
                    <a:lnTo>
                      <a:pt x="184" y="105"/>
                    </a:lnTo>
                    <a:lnTo>
                      <a:pt x="204" y="126"/>
                    </a:lnTo>
                    <a:lnTo>
                      <a:pt x="209" y="149"/>
                    </a:lnTo>
                    <a:lnTo>
                      <a:pt x="197" y="170"/>
                    </a:lnTo>
                    <a:lnTo>
                      <a:pt x="180" y="195"/>
                    </a:lnTo>
                    <a:lnTo>
                      <a:pt x="160" y="215"/>
                    </a:lnTo>
                    <a:lnTo>
                      <a:pt x="165" y="222"/>
                    </a:lnTo>
                    <a:lnTo>
                      <a:pt x="185" y="240"/>
                    </a:lnTo>
                    <a:lnTo>
                      <a:pt x="192" y="256"/>
                    </a:lnTo>
                    <a:lnTo>
                      <a:pt x="189" y="276"/>
                    </a:lnTo>
                    <a:lnTo>
                      <a:pt x="181" y="293"/>
                    </a:lnTo>
                    <a:lnTo>
                      <a:pt x="159" y="300"/>
                    </a:lnTo>
                    <a:lnTo>
                      <a:pt x="120" y="293"/>
                    </a:lnTo>
                    <a:lnTo>
                      <a:pt x="94" y="269"/>
                    </a:lnTo>
                    <a:lnTo>
                      <a:pt x="81" y="270"/>
                    </a:lnTo>
                    <a:lnTo>
                      <a:pt x="67" y="274"/>
                    </a:lnTo>
                    <a:lnTo>
                      <a:pt x="41" y="272"/>
                    </a:lnTo>
                    <a:lnTo>
                      <a:pt x="21" y="259"/>
                    </a:lnTo>
                    <a:lnTo>
                      <a:pt x="3" y="230"/>
                    </a:lnTo>
                    <a:lnTo>
                      <a:pt x="9" y="203"/>
                    </a:lnTo>
                    <a:lnTo>
                      <a:pt x="23" y="192"/>
                    </a:lnTo>
                    <a:lnTo>
                      <a:pt x="20" y="180"/>
                    </a:lnTo>
                    <a:lnTo>
                      <a:pt x="3" y="149"/>
                    </a:lnTo>
                    <a:lnTo>
                      <a:pt x="0" y="128"/>
                    </a:lnTo>
                    <a:lnTo>
                      <a:pt x="9" y="107"/>
                    </a:lnTo>
                    <a:lnTo>
                      <a:pt x="26" y="97"/>
                    </a:lnTo>
                    <a:lnTo>
                      <a:pt x="41" y="91"/>
                    </a:lnTo>
                    <a:close/>
                  </a:path>
                </a:pathLst>
              </a:custGeom>
              <a:solidFill>
                <a:srgbClr val="3366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Freeform 522"/>
              <p:cNvSpPr>
                <a:spLocks/>
              </p:cNvSpPr>
              <p:nvPr/>
            </p:nvSpPr>
            <p:spPr bwMode="auto">
              <a:xfrm>
                <a:off x="-709" y="938"/>
                <a:ext cx="162" cy="276"/>
              </a:xfrm>
              <a:custGeom>
                <a:avLst/>
                <a:gdLst>
                  <a:gd name="T0" fmla="*/ 14 w 162"/>
                  <a:gd name="T1" fmla="*/ 82 h 276"/>
                  <a:gd name="T2" fmla="*/ 52 w 162"/>
                  <a:gd name="T3" fmla="*/ 74 h 276"/>
                  <a:gd name="T4" fmla="*/ 80 w 162"/>
                  <a:gd name="T5" fmla="*/ 68 h 276"/>
                  <a:gd name="T6" fmla="*/ 79 w 162"/>
                  <a:gd name="T7" fmla="*/ 38 h 276"/>
                  <a:gd name="T8" fmla="*/ 69 w 162"/>
                  <a:gd name="T9" fmla="*/ 19 h 276"/>
                  <a:gd name="T10" fmla="*/ 57 w 162"/>
                  <a:gd name="T11" fmla="*/ 5 h 276"/>
                  <a:gd name="T12" fmla="*/ 71 w 162"/>
                  <a:gd name="T13" fmla="*/ 0 h 276"/>
                  <a:gd name="T14" fmla="*/ 88 w 162"/>
                  <a:gd name="T15" fmla="*/ 19 h 276"/>
                  <a:gd name="T16" fmla="*/ 95 w 162"/>
                  <a:gd name="T17" fmla="*/ 44 h 276"/>
                  <a:gd name="T18" fmla="*/ 93 w 162"/>
                  <a:gd name="T19" fmla="*/ 71 h 276"/>
                  <a:gd name="T20" fmla="*/ 120 w 162"/>
                  <a:gd name="T21" fmla="*/ 77 h 276"/>
                  <a:gd name="T22" fmla="*/ 142 w 162"/>
                  <a:gd name="T23" fmla="*/ 85 h 276"/>
                  <a:gd name="T24" fmla="*/ 138 w 162"/>
                  <a:gd name="T25" fmla="*/ 93 h 276"/>
                  <a:gd name="T26" fmla="*/ 113 w 162"/>
                  <a:gd name="T27" fmla="*/ 90 h 276"/>
                  <a:gd name="T28" fmla="*/ 100 w 162"/>
                  <a:gd name="T29" fmla="*/ 86 h 276"/>
                  <a:gd name="T30" fmla="*/ 112 w 162"/>
                  <a:gd name="T31" fmla="*/ 115 h 276"/>
                  <a:gd name="T32" fmla="*/ 111 w 162"/>
                  <a:gd name="T33" fmla="*/ 152 h 276"/>
                  <a:gd name="T34" fmla="*/ 108 w 162"/>
                  <a:gd name="T35" fmla="*/ 194 h 276"/>
                  <a:gd name="T36" fmla="*/ 131 w 162"/>
                  <a:gd name="T37" fmla="*/ 197 h 276"/>
                  <a:gd name="T38" fmla="*/ 162 w 162"/>
                  <a:gd name="T39" fmla="*/ 213 h 276"/>
                  <a:gd name="T40" fmla="*/ 162 w 162"/>
                  <a:gd name="T41" fmla="*/ 224 h 276"/>
                  <a:gd name="T42" fmla="*/ 139 w 162"/>
                  <a:gd name="T43" fmla="*/ 216 h 276"/>
                  <a:gd name="T44" fmla="*/ 107 w 162"/>
                  <a:gd name="T45" fmla="*/ 207 h 276"/>
                  <a:gd name="T46" fmla="*/ 94 w 162"/>
                  <a:gd name="T47" fmla="*/ 241 h 276"/>
                  <a:gd name="T48" fmla="*/ 83 w 162"/>
                  <a:gd name="T49" fmla="*/ 276 h 276"/>
                  <a:gd name="T50" fmla="*/ 69 w 162"/>
                  <a:gd name="T51" fmla="*/ 275 h 276"/>
                  <a:gd name="T52" fmla="*/ 77 w 162"/>
                  <a:gd name="T53" fmla="*/ 253 h 276"/>
                  <a:gd name="T54" fmla="*/ 81 w 162"/>
                  <a:gd name="T55" fmla="*/ 226 h 276"/>
                  <a:gd name="T56" fmla="*/ 88 w 162"/>
                  <a:gd name="T57" fmla="*/ 208 h 276"/>
                  <a:gd name="T58" fmla="*/ 58 w 162"/>
                  <a:gd name="T59" fmla="*/ 205 h 276"/>
                  <a:gd name="T60" fmla="*/ 28 w 162"/>
                  <a:gd name="T61" fmla="*/ 202 h 276"/>
                  <a:gd name="T62" fmla="*/ 2 w 162"/>
                  <a:gd name="T63" fmla="*/ 194 h 276"/>
                  <a:gd name="T64" fmla="*/ 0 w 162"/>
                  <a:gd name="T65" fmla="*/ 185 h 276"/>
                  <a:gd name="T66" fmla="*/ 26 w 162"/>
                  <a:gd name="T67" fmla="*/ 189 h 276"/>
                  <a:gd name="T68" fmla="*/ 51 w 162"/>
                  <a:gd name="T69" fmla="*/ 192 h 276"/>
                  <a:gd name="T70" fmla="*/ 88 w 162"/>
                  <a:gd name="T71" fmla="*/ 191 h 276"/>
                  <a:gd name="T72" fmla="*/ 93 w 162"/>
                  <a:gd name="T73" fmla="*/ 164 h 276"/>
                  <a:gd name="T74" fmla="*/ 90 w 162"/>
                  <a:gd name="T75" fmla="*/ 137 h 276"/>
                  <a:gd name="T76" fmla="*/ 86 w 162"/>
                  <a:gd name="T77" fmla="*/ 109 h 276"/>
                  <a:gd name="T78" fmla="*/ 78 w 162"/>
                  <a:gd name="T79" fmla="*/ 83 h 276"/>
                  <a:gd name="T80" fmla="*/ 14 w 162"/>
                  <a:gd name="T81" fmla="*/ 95 h 276"/>
                  <a:gd name="T82" fmla="*/ 14 w 162"/>
                  <a:gd name="T83" fmla="*/ 82 h 27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62"/>
                  <a:gd name="T127" fmla="*/ 0 h 276"/>
                  <a:gd name="T128" fmla="*/ 162 w 162"/>
                  <a:gd name="T129" fmla="*/ 276 h 27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62" h="276">
                    <a:moveTo>
                      <a:pt x="14" y="82"/>
                    </a:moveTo>
                    <a:lnTo>
                      <a:pt x="52" y="74"/>
                    </a:lnTo>
                    <a:lnTo>
                      <a:pt x="80" y="68"/>
                    </a:lnTo>
                    <a:lnTo>
                      <a:pt x="79" y="38"/>
                    </a:lnTo>
                    <a:lnTo>
                      <a:pt x="69" y="19"/>
                    </a:lnTo>
                    <a:lnTo>
                      <a:pt x="57" y="5"/>
                    </a:lnTo>
                    <a:lnTo>
                      <a:pt x="71" y="0"/>
                    </a:lnTo>
                    <a:lnTo>
                      <a:pt x="88" y="19"/>
                    </a:lnTo>
                    <a:lnTo>
                      <a:pt x="95" y="44"/>
                    </a:lnTo>
                    <a:lnTo>
                      <a:pt x="93" y="71"/>
                    </a:lnTo>
                    <a:lnTo>
                      <a:pt x="120" y="77"/>
                    </a:lnTo>
                    <a:lnTo>
                      <a:pt x="142" y="85"/>
                    </a:lnTo>
                    <a:lnTo>
                      <a:pt x="138" y="93"/>
                    </a:lnTo>
                    <a:lnTo>
                      <a:pt x="113" y="90"/>
                    </a:lnTo>
                    <a:lnTo>
                      <a:pt x="100" y="86"/>
                    </a:lnTo>
                    <a:lnTo>
                      <a:pt x="112" y="115"/>
                    </a:lnTo>
                    <a:lnTo>
                      <a:pt x="111" y="152"/>
                    </a:lnTo>
                    <a:lnTo>
                      <a:pt x="108" y="194"/>
                    </a:lnTo>
                    <a:lnTo>
                      <a:pt x="131" y="197"/>
                    </a:lnTo>
                    <a:lnTo>
                      <a:pt x="162" y="213"/>
                    </a:lnTo>
                    <a:lnTo>
                      <a:pt x="162" y="224"/>
                    </a:lnTo>
                    <a:lnTo>
                      <a:pt x="139" y="216"/>
                    </a:lnTo>
                    <a:lnTo>
                      <a:pt x="107" y="207"/>
                    </a:lnTo>
                    <a:lnTo>
                      <a:pt x="94" y="241"/>
                    </a:lnTo>
                    <a:lnTo>
                      <a:pt x="83" y="276"/>
                    </a:lnTo>
                    <a:lnTo>
                      <a:pt x="69" y="275"/>
                    </a:lnTo>
                    <a:lnTo>
                      <a:pt x="77" y="253"/>
                    </a:lnTo>
                    <a:lnTo>
                      <a:pt x="81" y="226"/>
                    </a:lnTo>
                    <a:lnTo>
                      <a:pt x="88" y="208"/>
                    </a:lnTo>
                    <a:lnTo>
                      <a:pt x="58" y="205"/>
                    </a:lnTo>
                    <a:lnTo>
                      <a:pt x="28" y="202"/>
                    </a:lnTo>
                    <a:lnTo>
                      <a:pt x="2" y="194"/>
                    </a:lnTo>
                    <a:lnTo>
                      <a:pt x="0" y="185"/>
                    </a:lnTo>
                    <a:lnTo>
                      <a:pt x="26" y="189"/>
                    </a:lnTo>
                    <a:lnTo>
                      <a:pt x="51" y="192"/>
                    </a:lnTo>
                    <a:lnTo>
                      <a:pt x="88" y="191"/>
                    </a:lnTo>
                    <a:lnTo>
                      <a:pt x="93" y="164"/>
                    </a:lnTo>
                    <a:lnTo>
                      <a:pt x="90" y="137"/>
                    </a:lnTo>
                    <a:lnTo>
                      <a:pt x="86" y="109"/>
                    </a:lnTo>
                    <a:lnTo>
                      <a:pt x="78" y="83"/>
                    </a:lnTo>
                    <a:lnTo>
                      <a:pt x="14" y="95"/>
                    </a:lnTo>
                    <a:lnTo>
                      <a:pt x="14" y="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pic>
        <p:nvPicPr>
          <p:cNvPr id="319" name="Picture 5" descr="C:\Dokumente und Einstellungen\Florian Rupp\Eigene Dateien\_Impulsiv\impulsiv_a\Polya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146647" cy="2356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0" name="Text Box 6"/>
          <p:cNvSpPr txBox="1">
            <a:spLocks noChangeArrowheads="1"/>
          </p:cNvSpPr>
          <p:nvPr/>
        </p:nvSpPr>
        <p:spPr bwMode="auto">
          <a:xfrm>
            <a:off x="251521" y="3579862"/>
            <a:ext cx="216024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Georg </a:t>
            </a:r>
            <a:r>
              <a:rPr lang="de-DE" sz="1400" dirty="0" err="1"/>
              <a:t>Pólya</a:t>
            </a:r>
            <a:endParaRPr lang="de-DE" sz="1400" dirty="0"/>
          </a:p>
          <a:p>
            <a:pPr algn="ctr"/>
            <a:r>
              <a:rPr lang="de-DE" sz="1400" dirty="0">
                <a:cs typeface="Times New Roman" pitchFamily="18" charset="0"/>
              </a:rPr>
              <a:t>13. 12. 1887 – 7. 9. 1985</a:t>
            </a:r>
            <a:r>
              <a:rPr lang="de-DE" sz="1400" dirty="0"/>
              <a:t> </a:t>
            </a:r>
          </a:p>
        </p:txBody>
      </p:sp>
      <p:cxnSp>
        <p:nvCxnSpPr>
          <p:cNvPr id="322" name="Gerade Verbindung 321"/>
          <p:cNvCxnSpPr/>
          <p:nvPr/>
        </p:nvCxnSpPr>
        <p:spPr>
          <a:xfrm flipV="1">
            <a:off x="6876256" y="1275606"/>
            <a:ext cx="720080" cy="36004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ractical problems it often arises that quantities and their rates depend on each other such that one has to solve ‘related rates problems’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31378" cy="121347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715759"/>
            <a:ext cx="7018581" cy="205487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elated rate of co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28635" cy="36048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elated rate of co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2"/>
            <a:ext cx="7025429" cy="34802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related rates to study suppl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31427" cy="37486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related rates to study suppl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18663" cy="32015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related rates to study suppl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26854" cy="23042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</a:t>
            </a: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ifferentiation of Exponential &amp; Logarithmic Funct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Exponential Model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arginal Analysi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Related Rat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6446120" cy="1438535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931779"/>
            <a:ext cx="5940890" cy="19905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, in particular, the natural logarithmic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5"/>
            <a:ext cx="7084662" cy="1777177"/>
          </a:xfrm>
          <a:prstGeom prst="rect">
            <a:avLst/>
          </a:prstGeom>
          <a:noFill/>
          <a:ln/>
          <a:effectLst/>
        </p:spPr>
      </p:pic>
      <p:sp>
        <p:nvSpPr>
          <p:cNvPr id="6" name="Abgerundetes Rechteck 5"/>
          <p:cNvSpPr/>
          <p:nvPr/>
        </p:nvSpPr>
        <p:spPr>
          <a:xfrm>
            <a:off x="3851920" y="1779662"/>
            <a:ext cx="288032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bgerundetes Rechteck 8"/>
          <p:cNvSpPr/>
          <p:nvPr/>
        </p:nvSpPr>
        <p:spPr>
          <a:xfrm>
            <a:off x="6167224" y="3750166"/>
            <a:ext cx="2584668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bgerundetes Rechteck 9"/>
          <p:cNvSpPr/>
          <p:nvPr/>
        </p:nvSpPr>
        <p:spPr>
          <a:xfrm>
            <a:off x="2044100" y="3750166"/>
            <a:ext cx="288032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435823"/>
            <a:ext cx="6594068" cy="902278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3363838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2383987" y="1203588"/>
            <a:ext cx="5816186" cy="48486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851670"/>
            <a:ext cx="7200800" cy="316835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923667"/>
            <a:ext cx="7123601" cy="293377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5794478" cy="18178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Population Growth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80" y="1203598"/>
            <a:ext cx="5349647" cy="2101914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0"/>
          <p:cNvGrpSpPr/>
          <p:nvPr/>
        </p:nvGrpSpPr>
        <p:grpSpPr>
          <a:xfrm>
            <a:off x="239707" y="1080790"/>
            <a:ext cx="2957541" cy="1944216"/>
            <a:chOff x="730250" y="1131590"/>
            <a:chExt cx="2409848" cy="1584176"/>
          </a:xfrm>
        </p:grpSpPr>
        <p:pic>
          <p:nvPicPr>
            <p:cNvPr id="1026" name="Picture 2 1"/>
            <p:cNvPicPr>
              <a:picLocks noChangeAspect="1" noChangeArrowheads="1"/>
            </p:cNvPicPr>
            <p:nvPr/>
          </p:nvPicPr>
          <p:blipFill>
            <a:blip r:embed="rId4" cstate="print"/>
            <a:srcRect l="16573"/>
            <a:stretch>
              <a:fillRect/>
            </a:stretch>
          </p:blipFill>
          <p:spPr bwMode="auto">
            <a:xfrm>
              <a:off x="730250" y="1131590"/>
              <a:ext cx="2409848" cy="1584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2 2"/>
            <p:cNvPicPr>
              <a:picLocks noChangeAspect="1" noChangeArrowheads="1"/>
            </p:cNvPicPr>
            <p:nvPr/>
          </p:nvPicPr>
          <p:blipFill>
            <a:blip r:embed="rId4" cstate="print"/>
            <a:srcRect t="40909" r="82550" b="40909"/>
            <a:stretch>
              <a:fillRect/>
            </a:stretch>
          </p:blipFill>
          <p:spPr bwMode="auto">
            <a:xfrm>
              <a:off x="1115616" y="1203598"/>
              <a:ext cx="504056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Population Growth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97107" cy="35954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opulation Growth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29523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80" y="1203599"/>
            <a:ext cx="5347285" cy="2800435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9"/>
          <p:cNvGrpSpPr/>
          <p:nvPr/>
        </p:nvGrpSpPr>
        <p:grpSpPr>
          <a:xfrm>
            <a:off x="239707" y="1080790"/>
            <a:ext cx="2957541" cy="1944216"/>
            <a:chOff x="730250" y="1131590"/>
            <a:chExt cx="2409848" cy="1584176"/>
          </a:xfrm>
        </p:grpSpPr>
        <p:pic>
          <p:nvPicPr>
            <p:cNvPr id="11" name="Picture 2 1"/>
            <p:cNvPicPr>
              <a:picLocks noChangeAspect="1" noChangeArrowheads="1"/>
            </p:cNvPicPr>
            <p:nvPr/>
          </p:nvPicPr>
          <p:blipFill>
            <a:blip r:embed="rId4" cstate="print"/>
            <a:srcRect l="16573"/>
            <a:stretch>
              <a:fillRect/>
            </a:stretch>
          </p:blipFill>
          <p:spPr bwMode="auto">
            <a:xfrm>
              <a:off x="730250" y="1131590"/>
              <a:ext cx="2409848" cy="1584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 2"/>
            <p:cNvPicPr>
              <a:picLocks noChangeAspect="1" noChangeArrowheads="1"/>
            </p:cNvPicPr>
            <p:nvPr/>
          </p:nvPicPr>
          <p:blipFill>
            <a:blip r:embed="rId4" cstate="print"/>
            <a:srcRect t="40909" r="82550" b="40909"/>
            <a:stretch>
              <a:fillRect/>
            </a:stretch>
          </p:blipFill>
          <p:spPr bwMode="auto">
            <a:xfrm>
              <a:off x="1115616" y="1203598"/>
              <a:ext cx="504056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Textfeld 12"/>
          <p:cNvSpPr txBox="1"/>
          <p:nvPr/>
        </p:nvSpPr>
        <p:spPr>
          <a:xfrm>
            <a:off x="251520" y="4250581"/>
            <a:ext cx="86409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hlinkClick r:id="rId5"/>
              </a:rPr>
              <a:t>https://www.worldometers.info/world-population/</a:t>
            </a:r>
            <a:endParaRPr lang="en-US" sz="1200" dirty="0" smtClean="0"/>
          </a:p>
          <a:p>
            <a:endParaRPr lang="en-US" sz="800" dirty="0" smtClean="0"/>
          </a:p>
          <a:p>
            <a:r>
              <a:rPr lang="en-US" sz="1200" dirty="0" smtClean="0"/>
              <a:t>The current world population is </a:t>
            </a:r>
            <a:r>
              <a:rPr lang="en-US" sz="1200" b="1" dirty="0" smtClean="0"/>
              <a:t>7.8 billion</a:t>
            </a:r>
            <a:r>
              <a:rPr lang="en-US" sz="1200" dirty="0" smtClean="0"/>
              <a:t> as of October 2020 according to the most recent United Nations estimates elaborated by </a:t>
            </a:r>
            <a:r>
              <a:rPr lang="en-US" sz="1200" dirty="0" err="1" smtClean="0"/>
              <a:t>Worldometer</a:t>
            </a:r>
            <a:r>
              <a:rPr lang="en-US" sz="1200" dirty="0" smtClean="0"/>
              <a:t>. The term "World Population" refers to the human population (the total number of humans currently living) of the world.</a:t>
            </a:r>
            <a:endParaRPr lang="en-US" sz="1200" dirty="0"/>
          </a:p>
        </p:txBody>
      </p:sp>
      <p:cxnSp>
        <p:nvCxnSpPr>
          <p:cNvPr id="14" name="Gerade Verbindung 13"/>
          <p:cNvCxnSpPr/>
          <p:nvPr/>
        </p:nvCxnSpPr>
        <p:spPr>
          <a:xfrm>
            <a:off x="251520" y="4227934"/>
            <a:ext cx="5040560" cy="0"/>
          </a:xfrm>
          <a:prstGeom prst="lin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251520" y="4155926"/>
            <a:ext cx="1440160" cy="0"/>
          </a:xfrm>
          <a:prstGeom prst="lin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adioactive Deca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107273" cy="1734330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4"/>
          <p:cNvGrpSpPr/>
          <p:nvPr/>
        </p:nvGrpSpPr>
        <p:grpSpPr>
          <a:xfrm>
            <a:off x="107504" y="3291829"/>
            <a:ext cx="6696744" cy="1782917"/>
            <a:chOff x="107504" y="2697525"/>
            <a:chExt cx="8928992" cy="2377223"/>
          </a:xfrm>
        </p:grpSpPr>
        <p:pic>
          <p:nvPicPr>
            <p:cNvPr id="5122" name="Picture 2" descr="https://img.etimg.com/thumb/msid-67113757,width-640,resizemode-4,imgsize-193207/radium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07504" y="3273320"/>
              <a:ext cx="2376264" cy="1782198"/>
            </a:xfrm>
            <a:prstGeom prst="rect">
              <a:avLst/>
            </a:prstGeom>
            <a:noFill/>
          </p:spPr>
        </p:pic>
        <p:pic>
          <p:nvPicPr>
            <p:cNvPr id="5124" name="Picture 4" descr="https://funnypictures.me/wp-content/uploads/2014/02/radioactive-products-from-past-radium-condoms-0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627784" y="3291829"/>
              <a:ext cx="2088232" cy="1733233"/>
            </a:xfrm>
            <a:prstGeom prst="rect">
              <a:avLst/>
            </a:prstGeom>
            <a:noFill/>
          </p:spPr>
        </p:pic>
        <p:pic>
          <p:nvPicPr>
            <p:cNvPr id="5126" name="Picture 6" descr="https://funnypictures.me/wp-content/uploads/2014/02/radioactive-products-from-past-radium-chocolate.jpg"/>
            <p:cNvPicPr>
              <a:picLocks noChangeAspect="1" noChangeArrowheads="1"/>
            </p:cNvPicPr>
            <p:nvPr/>
          </p:nvPicPr>
          <p:blipFill>
            <a:blip r:embed="rId6" cstate="print"/>
            <a:srcRect t="8094"/>
            <a:stretch>
              <a:fillRect/>
            </a:stretch>
          </p:blipFill>
          <p:spPr bwMode="auto">
            <a:xfrm>
              <a:off x="4860032" y="3291830"/>
              <a:ext cx="1512168" cy="817651"/>
            </a:xfrm>
            <a:prstGeom prst="rect">
              <a:avLst/>
            </a:prstGeom>
            <a:noFill/>
          </p:spPr>
        </p:pic>
        <p:pic>
          <p:nvPicPr>
            <p:cNvPr id="5128" name="Picture 8" descr="https://funnypictures.me/wp-content/uploads/2014/02/radioactive-products-from-past-radium-soap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724128" y="4083918"/>
              <a:ext cx="1512168" cy="935024"/>
            </a:xfrm>
            <a:prstGeom prst="rect">
              <a:avLst/>
            </a:prstGeom>
            <a:noFill/>
          </p:spPr>
        </p:pic>
        <p:pic>
          <p:nvPicPr>
            <p:cNvPr id="5130" name="Picture 10" descr="Radioactive products from past - Radium toothpaste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308304" y="3291830"/>
              <a:ext cx="1728192" cy="1782918"/>
            </a:xfrm>
            <a:prstGeom prst="rect">
              <a:avLst/>
            </a:prstGeom>
            <a:noFill/>
          </p:spPr>
        </p:pic>
        <p:pic>
          <p:nvPicPr>
            <p:cNvPr id="5132" name="Picture 12" descr="Radioactive products from past - Radium wool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572000" y="4181326"/>
              <a:ext cx="1107488" cy="771550"/>
            </a:xfrm>
            <a:prstGeom prst="rect">
              <a:avLst/>
            </a:prstGeom>
            <a:noFill/>
          </p:spPr>
        </p:pic>
        <p:pic>
          <p:nvPicPr>
            <p:cNvPr id="5134" name="Picture 14" descr="Leuchtmittel in Uhren"/>
            <p:cNvPicPr>
              <a:picLocks noChangeAspect="1" noChangeArrowheads="1"/>
            </p:cNvPicPr>
            <p:nvPr/>
          </p:nvPicPr>
          <p:blipFill>
            <a:blip r:embed="rId10" cstate="print"/>
            <a:srcRect l="22222" t="9522" r="22222" b="8333"/>
            <a:stretch>
              <a:fillRect/>
            </a:stretch>
          </p:blipFill>
          <p:spPr bwMode="auto">
            <a:xfrm>
              <a:off x="6444208" y="3291830"/>
              <a:ext cx="792088" cy="780792"/>
            </a:xfrm>
            <a:prstGeom prst="rect">
              <a:avLst/>
            </a:prstGeom>
            <a:noFill/>
          </p:spPr>
        </p:pic>
        <p:sp>
          <p:nvSpPr>
            <p:cNvPr id="13" name="Textfeld 12"/>
            <p:cNvSpPr txBox="1"/>
            <p:nvPr/>
          </p:nvSpPr>
          <p:spPr>
            <a:xfrm>
              <a:off x="107504" y="2697525"/>
              <a:ext cx="1920213" cy="533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/>
                <a:t>radium and its use in the early 20</a:t>
              </a:r>
              <a:r>
                <a:rPr lang="en-US" sz="1000" baseline="30000" dirty="0" smtClean="0"/>
                <a:t>th</a:t>
              </a:r>
              <a:r>
                <a:rPr lang="en-US" sz="1000" dirty="0" smtClean="0"/>
                <a:t> century:</a:t>
              </a:r>
              <a:endParaRPr lang="en-US" sz="1000" dirty="0"/>
            </a:p>
          </p:txBody>
        </p:sp>
        <p:pic>
          <p:nvPicPr>
            <p:cNvPr id="5136" name="Picture 16" descr="Radium - Crime Museum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73162" y="3325738"/>
              <a:ext cx="504056" cy="49569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adioactive Deca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38290" y="1184541"/>
            <a:ext cx="7106581" cy="374774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adioactive Deca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38290" y="1184540"/>
            <a:ext cx="7121438" cy="37538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marginal cost and marginal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4336" cy="32671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marginal cost and marginal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9"/>
            <a:ext cx="7054253" cy="37100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differentiation rule for the natural logarith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6948264" y="915566"/>
            <a:ext cx="2088232" cy="64807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7061215" y="994747"/>
            <a:ext cx="1862331" cy="489711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835693" y="1203573"/>
            <a:ext cx="4334681" cy="793772"/>
          </a:xfrm>
          <a:prstGeom prst="rect">
            <a:avLst/>
          </a:prstGeom>
          <a:noFill/>
          <a:ln/>
          <a:effectLst/>
        </p:spPr>
      </p:pic>
      <p:pic>
        <p:nvPicPr>
          <p:cNvPr id="35" name="Grafik 3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835692" y="2219330"/>
            <a:ext cx="4803936" cy="800032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858554" y="3166480"/>
            <a:ext cx="5296477" cy="849967"/>
          </a:xfrm>
          <a:prstGeom prst="rect">
            <a:avLst/>
          </a:prstGeom>
          <a:noFill/>
          <a:ln/>
          <a:effectLst/>
        </p:spPr>
      </p:pic>
      <p:pic>
        <p:nvPicPr>
          <p:cNvPr id="33" name="Grafik 3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835692" y="4163370"/>
            <a:ext cx="6179705" cy="8000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marginal cost and marginal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37626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8"/>
            <a:ext cx="7047482" cy="21374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stimating change in cost using a derivativ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3"/>
            <a:ext cx="7056595" cy="978075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99723"/>
            <a:ext cx="7058679" cy="23137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elated Rates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31941" y="1171839"/>
            <a:ext cx="7123107" cy="3412810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283718"/>
            <a:ext cx="7200800" cy="273630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elated Rates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31940" y="1171836"/>
            <a:ext cx="7118770" cy="38157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elated Rates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31940" y="1171836"/>
            <a:ext cx="6412466" cy="35986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elated Rates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6" y="1203598"/>
            <a:ext cx="5352366" cy="3715898"/>
          </a:xfrm>
          <a:prstGeom prst="rect">
            <a:avLst/>
          </a:prstGeom>
          <a:noFill/>
          <a:ln/>
          <a:effectLst/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3162" y="1059582"/>
            <a:ext cx="2016224" cy="180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5029" y="2982590"/>
            <a:ext cx="2189947" cy="2105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hteck 14"/>
          <p:cNvSpPr/>
          <p:nvPr/>
        </p:nvSpPr>
        <p:spPr>
          <a:xfrm>
            <a:off x="3419872" y="2571750"/>
            <a:ext cx="5472608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elated Rates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99"/>
            <a:ext cx="5349730" cy="3080081"/>
          </a:xfrm>
          <a:prstGeom prst="rect">
            <a:avLst/>
          </a:prstGeom>
          <a:noFill/>
          <a:ln/>
          <a:effectLst/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3162" y="1059582"/>
            <a:ext cx="2016224" cy="180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5029" y="2982590"/>
            <a:ext cx="2189947" cy="2105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Related Rates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3162" y="1059582"/>
            <a:ext cx="2016224" cy="180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5029" y="2982590"/>
            <a:ext cx="2189947" cy="2105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259633" y="3219822"/>
            <a:ext cx="969311" cy="360315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1203597"/>
            <a:ext cx="5350246" cy="23363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differentiation rule for the natural logarithm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2372" y="1070630"/>
            <a:ext cx="2233430" cy="1701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71600" y="2787774"/>
            <a:ext cx="216760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69" y="1203595"/>
            <a:ext cx="4887106" cy="1670450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251520" y="4443958"/>
            <a:ext cx="1512168" cy="576064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66313" y="4524267"/>
            <a:ext cx="1282582" cy="415447"/>
          </a:xfrm>
          <a:prstGeom prst="rect">
            <a:avLst/>
          </a:prstGeom>
          <a:noFill/>
          <a:ln/>
          <a:effectLst/>
        </p:spPr>
      </p:pic>
      <p:cxnSp>
        <p:nvCxnSpPr>
          <p:cNvPr id="22" name="Gerade Verbindung 21"/>
          <p:cNvCxnSpPr/>
          <p:nvPr/>
        </p:nvCxnSpPr>
        <p:spPr>
          <a:xfrm>
            <a:off x="7740352" y="4932774"/>
            <a:ext cx="504056" cy="0"/>
          </a:xfrm>
          <a:prstGeom prst="lin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Gerade Verbindung 23"/>
          <p:cNvCxnSpPr/>
          <p:nvPr/>
        </p:nvCxnSpPr>
        <p:spPr>
          <a:xfrm flipV="1">
            <a:off x="8244408" y="4356710"/>
            <a:ext cx="0" cy="576064"/>
          </a:xfrm>
          <a:prstGeom prst="lin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7740352" y="4356710"/>
            <a:ext cx="504056" cy="0"/>
          </a:xfrm>
          <a:prstGeom prst="lin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3491869" y="3093121"/>
            <a:ext cx="4625160" cy="18657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 of natural exponential and logarithmic functions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033295"/>
            <a:ext cx="2172278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94"/>
            <a:ext cx="4710839" cy="33799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alculation of derivatives of complicated functions involving products, quotients, or powers can often be simplified by taking logarithms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600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74"/>
            <a:ext cx="6887531" cy="18807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563638"/>
            <a:ext cx="7200800" cy="34563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635622"/>
            <a:ext cx="7086708" cy="29090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4,998"/>
  <p:tag name="ORIGINALWIDTH" val="4492,689"/>
  <p:tag name="LATEXADDIN" val="\documentclass{article}\pagestyle{empty}&#10;\usepackage{amsmath}&#10;\usepackage{amsfonts}&#10;\usepackage{amssymb}&#10;\begin{document}&#10;\begin{minipage}{12.7 cm}&#10;{\sffamily{&#10;{\bf{Exercise:}}\\[1mm]&#10;A manufacturer estimates that when $x$ units of a particular commodity are produced,&#10;the total cost will be&#10;$$&#10;C(x) \, \, = \, \, \tfrac{1}{8} x^2 + 3x + 98 \quad \text{[GEL]} \, ,&#10;$$&#10;and furthermore, that all $x$ units will be sold when the price is&#10;$$&#10;p(x) \, \, = \, \, \tfrac{1}{3} \left( 75 - x \right) \quad \text{[GEL per unit]} \, .&#10;$$&#10;\begin{itemize}&#10;\item[{\bf{a)}}] Find the marginal cost and the marginal revenue.\\[-6mm]&#10;\item[{\bf{b)}}] Use marginal cost to estimate the cost of producing the $37$th unit. What is the&#10;actual cost of producing the $37$th unit?\\[-6mm]&#10;\item[{\bf{c)}}] Use marginal revenue to estimate the revenue derived from the sale of the $37$th&#10;unit. What is the actual revenue derived from the sale of the $37$th unit?&#10;\end{itemize}&#10;}}&#10;\end{minipage}&#10;\end{document}"/>
  <p:tag name="IGUANATEXSIZE" val="20"/>
  <p:tag name="IGUANATEXCURSOR" val="3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3,465"/>
  <p:tag name="ORIGINALWIDTH" val="4491,189"/>
  <p:tag name="LATEXADDIN" val="\documentclass{article}\pagestyle{empty}&#10;\usepackage{amsmath}&#10;\usepackage{amsfonts}&#10;\usepackage{amssymb}&#10;\begin{document}&#10;\begin{minipage}{12.7 cm}&#10;{\sffamily{&#10;{\bf{Solution:}}\\[1mm]&#10;{\bf{a)}} The marginal cost is $C'(x) = \tfrac{1}{4} x + 3$. Since $x$ units of the commodity are sold&#10;at a price of $p(x) = \tfrac{1}{3}(75-x)$ GEL per unit, the total revenue is\\[-6mm]&#10;\begin{eqnarray*}&#10;R(x) &amp; = &amp; (\text{number of units sold})(\text{price per unit}) \, \, = \, \, x \cdot p(x) \\[1mm]&#10;&amp; = &amp;&#10;25x - \tfrac{1}{3} x^2&#10;\end{eqnarray*}&#10;The marginal revenue is&#10;$$&#10;R'(x) \, \, = \, \, 25 - \tfrac{2}{3} x&#10;$$&#10;{\bf{b)}} The cost of producing the $37$th unit is the change in cost as $x$ increases from&#10;$36$ to $37$ and can be estimated by the marginal cost when producing $36$ units:\\[-2mm]&#10;$$&#10;C'(x) \, \, = \, \, \tfrac{1}{4} \cdot 36 + 3 \, \, = \, \, 12 \quad \text{[GEL]}&#10;$$&#10;The actual cost of producing the $37$th unit is $C(37) - C(36) = 380.125 - 368 = 12.125$ GEL&#10;which is reasonably well approximated by the marginal cost $C'(36)=12$ GEL.&#10;}}&#10;\end{minipage}&#10;\end{document}"/>
  <p:tag name="IGUANATEXSIZE" val="20"/>
  <p:tag name="IGUANATEXCURSOR" val="7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5,336"/>
  <p:tag name="ORIGINALWIDTH" val="4486,689"/>
  <p:tag name="LATEXADDIN" val="\documentclass{article}\pagestyle{empty}&#10;\usepackage{amsmath}&#10;\usepackage{amsfonts}&#10;\usepackage{amssymb}&#10;\begin{document}&#10;\begin{minipage}{12.7 cm}&#10;{\sffamily{&#10;{\bf{c)}} The revenue obtained from the sale of the $37$th unit is approximated by the marginal&#10;revenue at $x=36$:&#10;$$&#10;R'(x) \, \, = \, \, 25 - \tfrac{2}{3} \cdot 36 \, \, = \, \, 1 \quad \text{[GEL]}&#10;$$&#10;The actual revenue obtained from the sale of the $37$th unit is&#10;$$&#10;R(37) - R(36) \, \, = \, \, 468.67 - 468 \, \, = \, \, 0.67&#10;$$&#10;that is, $0.67$ GEL, which is approximately the same as the marginal revenue&#10;$R'(36)=1$ GEL.&#10;}}&#10;\end{minipage}&#10;\end{document}"/>
  <p:tag name="IGUANATEXSIZE" val="20"/>
  <p:tag name="IGUANATEXCURSOR" val="5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9246"/>
  <p:tag name="ORIGINALWIDTH" val="4493,438"/>
  <p:tag name="LATEXADDIN" val="\documentclass{article}\pagestyle{empty}&#10;\usepackage{amsmath}&#10;\usepackage{amsfonts}&#10;\usepackage{amssymb}&#10;\begin{document}&#10;\begin{minipage}{12.7 cm}&#10;{\sffamily{&#10;{\bf{Exercise: (Estimating Change in Cost Using a Derivative)}}\\[1mm]&#10;Suppose the total cost of manufacturing q hundred units of a certain commodity is $C$&#10;thousand GEL where $C(q)=3q^2+5q+10$. If the current level of production is&#10;$4000$ units, estimate how the total cost will change if $4050$ units are produced.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3,322"/>
  <p:tag name="ORIGINALWIDTH" val="4491,939"/>
  <p:tag name="LATEXADDIN" val="\documentclass{article}\pagestyle{empty}&#10;\usepackage{amsmath}&#10;\usepackage{amsfonts}&#10;\usepackage{amssymb}&#10;\begin{document}&#10;\begin{minipage}{12.7 cm}&#10;{\sffamily{&#10;{\bf{Solution:}}\\[1mm]&#10;In this problem, the current level of production is $q=40$ (i.e. $4000$ units) and the change&#10;in production is $\Delta q = 0.5$ (an additional $50$ units). By the approximation formula,&#10;the corresponding change in cost is&#10;$$&#10;\Delta C \, \, = \, \, C(40.5) - C(40) \, \, \approx \, \, C'(40) \cdot \Delta q \, \, = \, \, C'(40) \cdot 0.5&#10;$$&#10;Since $C'(q) = 6q + 5$ and $C'(40) = 6 \cdot 40 + 5 = 245$ it follows that&#10;$$&#10;\Delta C \, \, \approx \, \, C'(40) \cdot 0.5 \, \, = \, \, 245 \cdot 0.5 \, \, = \, \, 122.50 \, .&#10;$$&#10;}}&#10;\end{minipage}&#10;\end{document}"/>
  <p:tag name="IGUANATEXSIZE" val="20"/>
  <p:tag name="IGUANATEXCURSOR" val="5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8,002"/>
  <p:tag name="ORIGINALWIDTH" val="4501,688"/>
  <p:tag name="LATEXADDIN" val="\documentclass{article}\pagestyle{empty}&#10;\usepackage{amsmath}&#10;\usepackage{amsfonts}&#10;\usepackage{amssymb}&#10;\begin{document}&#10;\begin{minipage}{12.7 cm}&#10;{\sffamily{&#10;{\bf{Exercise:}}\\[1mm]&#10;Air is being pumped into a spherical balloon so that its volume increases&#10;at a rate of $100$ $cm^3/s$. How fast is the radius of the balloon increasing when the diameter&#10;is $50$ $cm$?\\[2mm]&#10;&#10;{\bf{Solution:}} We start by identifying two things:&#10;\begin{itemize}&#10;\item the {\bf{given information}}: the rate of increase of the volume of air is $100$ $cm^3/s$, and&#10;\item the {\bf{unknown}}: the rate of increase of the radius when the diameter is $50$ $cm$.&#10;\end{itemize}&#10;In order to express these quantities mathematically, we introduce some suggestive&#10;{\bf{notation}}:&#10;$$&#10;\text{Let $V$ be the volume of the balloon and let $r$ be its radius.}&#10;$$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8,223"/>
  <p:tag name="ORIGINALWIDTH" val="4494,938"/>
  <p:tag name="LATEXADDIN" val="\documentclass{article}\pagestyle{empty}&#10;\usepackage{amsmath}&#10;\usepackage{amsfonts}&#10;\usepackage{amssymb}&#10;\begin{document}&#10;\begin{minipage}{12.7 cm}&#10;{\sffamily{&#10;The key thing to remember is that rates of change are derivatives. In this problem, the&#10;volume and the radius are both functions of the time $t$. The rate of increase of the volume&#10;with respect to time is the derivative $\frac{\textrm{d} \, V}{\textrm{d} \, t}$, and the rate of increase of the radius is&#10;$\frac{\textrm{d} \, r}{\textrm{d} \, t}$.\\[2mm]&#10;We can therefore restate the given and the unknown as follows:&#10;\begin{itemize}&#10;\item Given: $\frac{\textrm{d} \, V}{\textrm{d} \, t} = 100$ $cm^3/s$&#10;\item Unknown: $\frac{\textrm{d} \, r}{\textrm{d} \, t}$ when $r = 25$ $cm^3/s$&#10;\end{itemize}&#10;In order to connect $\frac{\textrm{d} \, V}{\textrm{d} \, t}$ and $\frac{\textrm{d} \, r}{\textrm{d} \, t}$, we first relate $V$ and $r$ by the formula for the&#10;volume of a sphere:\\[-5mm]&#10;$$&#10;V \, \, = \, \, \tfrac{4}{3} \, \pi \, r^3 \, .&#10;$$&#10;In order to use the given information, we differentiate each side of this equation with&#10;respect to $t$.&#10;}}&#10;\end{minipage}&#10;\end{document}"/>
  <p:tag name="IGUANATEXSIZE" val="20"/>
  <p:tag name="IGUANATEXCURSOR" val="9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9,989"/>
  <p:tag name="ORIGINALWIDTH" val="4047,994"/>
  <p:tag name="LATEXADDIN" val="\documentclass{article}\pagestyle{empty}&#10;\usepackage{amsmath}&#10;\usepackage{amsfonts}&#10;\usepackage{amssymb}&#10;\begin{document}&#10;\begin{minipage}{12.7 cm}&#10;{\sffamily{&#10;To differentiate the right side, we need to use the Chain Rule:&#10;$$&#10;\frac{\textrm{d} \, V}{\textrm{d} \, t} \, \, = \, \, \frac{\textrm{d} \, V}{\textrm{d} \, r} \frac{\textrm{d} \, r}{\textrm{d} \, t}&#10;\, \, = \, \, 4 \pi r^2 \frac{\textrm{d} \, r}{\textrm{d} \, t} \, .&#10;$$&#10;Now we solve for the unknown quantity:&#10;$$&#10;\frac{\textrm{d} \, r}{\textrm{d} \, t} \, \, = \, \, \frac{1}{4 \pi r^2} \, \frac{\textrm{d} \, V}{\textrm{d} \, t} \,.&#10;$$&#10;If we put $r = 25$ and $\frac{\textrm{d} \, V}{\textrm{d} \, t} = 100$ in this equation, we obtain&#10;$$&#10;\frac{\textrm{d} \, r}{\textrm{d} \, t} \, \, = \, \, \frac{1}{4 \pi 25^2} \, 100 \, \, = \, \, \frac{1}{25 \pi} \, .&#10;$$&#10;The radius of the balloon is increasing at the rate of $1/(25 \pi) \approx 0.0127$ $cm/s$.&#10;}}&#10;\end{minipage}&#10;\end{document}"/>
  <p:tag name="IGUANATEXSIZE" val="20"/>
  <p:tag name="IGUANATEXCURSOR" val="8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3,476"/>
  <p:tag name="ORIGINALWIDTH" val="3397,825"/>
  <p:tag name="LATEXADDIN" val="\documentclass{article}\pagestyle{empty}&#10;\usepackage{amsmath}&#10;\usepackage{amsfonts}&#10;\usepackage{amssymb}&#10;\begin{document}&#10;\begin{minipage}{9.6 cm}&#10;{\sffamily{&#10;{\bf{Exercise:}}\\[1mm]&#10;A ladder $10$ meter long rests against a vertical wall. If the bottom of the ladder&#10;slides away from the wall at a rate of $1$ meter, how fast is the top of the ladder sliding&#10;down the wall when the bottom of the ladder is $6$ meter from the wall?\\[2mm]&#10;{\bf{Solution:}}\\[1mm]&#10;We first draw a diagram and label it as in the figure. Let $x$ meter be the distance&#10;from the bottom of the ladder to the wall and $y$ meter the distance from the top of&#10;the ladder to the ground.\\[2mm]&#10;Note that $x$ and $y$ are both functions of $t$ (time, measured in&#10;seconds).\\[2mm]&#10;We are given that $\frac{\textrm{d} \, x}{\textrm{d} \, t} = 1$ $m/s$ and we are asked to find $\frac{\textrm{d} \, y}{\textrm{d} \, t}$ when $x = 6$ $m$ (see the other figure).&#10;&#10;&#10;&#10;&#10;&#10;&#10;&#10;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7,773"/>
  <p:tag name="ORIGINALWIDTH" val="3395,576"/>
  <p:tag name="LATEXADDIN" val="\documentclass{article}\pagestyle{empty}&#10;\usepackage{amsmath}&#10;\usepackage{amsfonts}&#10;\usepackage{amssymb}&#10;\begin{document}&#10;\begin{minipage}{9.6 cm}&#10;{\sffamily{&#10;In this problem, the relationship between x and y is given by the Pythagorean&#10;Theorem:&#10;$$&#10;x^2 \, + \, y^2 \, \, = \, \, 100 \, .&#10;$$&#10;Differentiating each side with respect to $t$ using the Chain Rule, we have&#10;$$&#10;2x \, \frac{\textrm{d} \, x}{\textrm{d} \, t} \, + \, 2y \, \frac{\textrm{d} \, y}{\textrm{d} \, t} \, \, = \, \, 0 \, ,&#10;$$&#10;and solving this equation for the desired rate, we obtain&#10;$$&#10;\frac{\textrm{d} \, y}{\textrm{d} \, t} \, \, = \, \, - \frac{x}{y} \, \frac{\textrm{d} \, x}{\textrm{d} \, t} \, .&#10;$$&#10;}}&#10;\end{minipage}&#10;\end{document}"/>
  <p:tag name="IGUANATEXSIZE" val="20"/>
  <p:tag name="IGUANATEXCURSOR" val="6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1,2149"/>
  <p:tag name="ORIGINALWIDTH" val="813,6484"/>
  <p:tag name="LATEXADDIN" val="\documentclass{article}\pagestyle{empty}&#10;\usepackage{amsmath}&#10;\usepackage{amsfonts}&#10;\usepackage{amssymb}&#10;\begin{document}&#10;\begin{minipage}{9.6 cm}&#10;{\sffamily{&#10;$$&#10;\frac{\textrm{d} \, y}{\textrm{d} \, t} \, \, = \, \, - \frac{x}{y} \, \frac{\textrm{d} \, x}{\textrm{d} \, t}&#10;$$&#10;}}&#10;\end{minipage}&#10;\end{document}"/>
  <p:tag name="IGUANATEXSIZE" val="20"/>
  <p:tag name="IGUANATEXCURSOR" val="2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5,328"/>
  <p:tag name="ORIGINALWIDTH" val="3395,576"/>
  <p:tag name="LATEXADDIN" val="\documentclass{article}\pagestyle{empty}&#10;\usepackage{amsmath}&#10;\usepackage{amsfonts}&#10;\usepackage{amssymb}&#10;\begin{document}&#10;\begin{minipage}{9.6 cm}&#10;{\sffamily{&#10;When $x = 6$, the Pythagorean Theorem gives $y = 8$ and so, substituting these values&#10;and $\frac{\textrm{d} \, x}{\textrm{d} \, t} = 1$, we have&#10;$$&#10;\frac{\textrm{d} \, y}{\textrm{d} \, t} \, \, = \, \, -\frac{6}{8} \cdot 1 \, \, = \, \, -\frac{3}{4} \, \, \, [m/s] \, .&#10;$$&#10;The fact that $\frac{\textrm{d} \, y}{\textrm{d} \, t}$ is negative means that the distance from the top of the ladder to&#10;the ground is decreasing at a rate of $34$ $m$. In other words, the top of the ladder is sliding&#10;down the wall at a rate of $34$ $m$.&#10;}}&#10;\end{minipage}&#10;\end{document}"/>
  <p:tag name="IGUANATEXSIZE" val="20"/>
  <p:tag name="IGUANATEXCURSOR" val="6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02,3998"/>
  <p:tag name="ORIGINALWIDTH" val="3429,322"/>
  <p:tag name="LATEXADDIN" val="\documentclass{article}\pagestyle{empty}&#10;\usepackage{amsmath}&#10;\usepackage{amsfonts}&#10;\usepackage{amssymb}&#10;\begin{document}&#10;\begin{minipage}{9.7 cm}&#10;{\sffamily{&#10;{\bf{Derivative of the (Natural) Exponential Function:}}\\[-2mm]&#10;$$&#10;\frac{\textrm{d}}{\textrm{d} \, x} \, {\rm{e}}^x \, \, = \, \, {\rm{e}}^x&#10;$$&#10;Recall, $f(x) = {\rm{e}}^x$ is actually defined as the only function that is equal to its derivative and for which $f(0) = 1$ (normalization).&#10;}}&#10;\end{minipage}&#10;\end{document}"/>
  <p:tag name="IGUANATEXSIZE" val="20"/>
  <p:tag name="IGUANATEXCURSOR" val="3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5,6956"/>
  <p:tag name="ORIGINALWIDTH" val="2881,89"/>
  <p:tag name="LATEXADDIN" val="\documentclass{article}\pagestyle{empty}&#10;\usepackage{amsmath}&#10;\usepackage{amsfonts}&#10;\usepackage{amssymb}&#10;\begin{document}&#10;\begin{minipage}{9.7 cm}&#10;{\sffamily{&#10;{\bf{Derivative of a General Exponential Function:}}\\[-2mm]&#10;$$&#10;\frac{\textrm{d}}{\textrm{d} \, x} \, b^x \, \, = \, \, \ln(b) \, b^x \, .&#10;$$&#10;&#10;}}&#10;\end{minipage}&#10;\end{document}"/>
  <p:tag name="IGUANATEXSIZE" val="20"/>
  <p:tag name="IGUANATEXCURSOR" val="3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3429,322"/>
  <p:tag name="LATEXADDIN" val="\documentclass{article}\pagestyle{empty}&#10;\usepackage{amsmath}&#10;\usepackage{amsfonts}&#10;\usepackage{amssymb}&#10;\begin{document}&#10;\begin{minipage}{9.7 cm}&#10;{\sffamily{&#10;As an application of the chain rule, we showed the formula for the derivative of a general exponential function:&#10;&#10;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5,433"/>
  <p:tag name="ORIGINALWIDTH" val="2882,64"/>
  <p:tag name="LATEXADDIN" val="\documentclass{article}\pagestyle{empty}&#10;\usepackage{amsmath}&#10;\usepackage{amsfonts}&#10;\usepackage{amssymb}&#10;\begin{document}&#10;\begin{minipage}{12.7 cm}&#10;{\sffamily{&#10;{\bf{The Derivative of the Logarithmic Function:}}&#10;$$&#10;\frac{\textrm{d}}{\textrm{d} \, x} \, \log_b(x) \, \, = \, \, \frac{1}{x \cdot \ln(b)}&#10;$$&#10;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61,83"/>
  <p:tag name="ORIGINALWIDTH" val="4445,445"/>
  <p:tag name="LATEXADDIN" val="\documentclass{article}\pagestyle{empty}&#10;\usepackage{amsmath}&#10;\usepackage{amsfonts}&#10;\usepackage{amssymb}&#10;\begin{document}&#10;\begin{minipage}{12.7 cm}&#10;{\sffamily{&#10;{\bf{Proof:}}\\[1mm]&#10;Recal, $\frac{\textrm{d}}{\textrm{d} x} b^x = b^x \ln(b)$. Let $y = \log_b(x)$. Then&#10;$$&#10;b^y \, \, = \, \, x \, .&#10;$$&#10;Differentiating this equation implicitly with respect to $x$, we get&#10;$$&#10;b^x \ln(b) \cdot \frac{\textrm{d} \, y}{\textrm{d} \, x} \, \, = \, \, 1&#10;\qquad \Longrightarrow \qquad&#10;\frac{\textrm{d} \, y}{\textrm{d} \, x} \, \, = \, \, \frac{1}{b^y \ln(b)} \, \, = \, \, \frac{1}{x \ln(b)} \, .&#10;$$\\[-6mm]&#10;\phantom{u} \hfill $\blacksquare$&#10;}}&#10;\end{minipage}&#10;\end{document}"/>
  <p:tag name="IGUANATEXSIZE" val="20"/>
  <p:tag name="IGUANATEXCURSOR" val="6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0,866"/>
  <p:tag name="ORIGINALWIDTH" val="4494,188"/>
  <p:tag name="LATEXADDIN" val="\documentclass{article}\pagestyle{empty}&#10;\usepackage{amsmath}&#10;\usepackage{amsfonts}&#10;\usepackage{amssymb}&#10;\begin{document}&#10;\begin{minipage}{12.7 cm}&#10;{\sffamily{&#10;If we put $b = {\rm{e}}$, then the factor $\ln(b)$ on the right side becomes $\ln({\rm{e}}) = 1$ and we get the formula for the derivative of the natural logarithmic function $\log_{\rm{e}}(x) = \ln(x)$:&#10;$$&#10;\frac{\textrm{d}}{\textrm{d} \, x} \, \ln(x) \, \, = \, \, \frac{1}{x} \, .&#10;$$&#10;We see one of the main reasons that {\bf{natural logarithms}} (logarithms with base ${\rm{e}}$) are used in calculus: The differentiation formula is simplest&#10;when $b = {\rm{e}}$ because $\ln{\rm{e}} = 1$.}}&#10;\end{minipage}&#10;\end{document}"/>
  <p:tag name="IGUANATEXSIZE" val="20"/>
  <p:tag name="IGUANATEXCURSOR" val="6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3,6821"/>
  <p:tag name="ORIGINALWIDTH" val="4182,978"/>
  <p:tag name="LATEXADDIN" val="\documentclass{article}\pagestyle{empty}&#10;\usepackage{amsmath}&#10;\usepackage{amsfonts}&#10;\usepackage{amssymb}&#10;\begin{document}&#10;\begin{minipage}{12.7 cm}&#10;{\sffamily{&#10;If we combine this differentiation formula with the Chain Rule, we get&#10;$$&#10;\frac{\textrm{d}}{\textrm{d} \, x} \, \ln(u(x)) \, \, = \, \, \frac{1}{u(x)} \, \frac{\textrm{d} \, u(x)}{\textrm{d} \, x}&#10;\qquad \, \qquad \text{or} \qquad \, \qquad&#10;\frac{\textrm{d}}{\textrm{d} \, x} \, \ln(g(x)) \, \, = \, \, \frac{g'(x)}{g(x)}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1181,102"/>
  <p:tag name="LATEXADDIN" val="\documentclass{article}\pagestyle{empty}&#10;\usepackage{amsmath}&#10;\usepackage{amsfonts}&#10;\usepackage{amssymb}&#10;\begin{document}&#10;\begin{minipage}{12.7 cm}&#10;{\sffamily{&#10;$$&#10;\frac{\textrm{d}}{\textrm{d} \, x} \, \ln(g(x)) \, \, = \, \, \frac{g'(x)}{g(x)}&#10;$$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5,4406"/>
  <p:tag name="ORIGINALWIDTH" val="2743,157"/>
  <p:tag name="LATEXADDIN" val="\documentclass{article}\pagestyle{empty}&#10;\usepackage{amsmath}&#10;\usepackage{amsfonts}&#10;\usepackage{amssymb}&#10;\begin{document}&#10;\begin{minipage}{12.7 cm}&#10;{\sffamily{&#10;\begin{enumerate}&#10;\item[{\bf{a)}}] The derivative of $f(x) = \ln(x^3 + 1)$ is\\[-2mm]&#10;$$&#10;f'(x) \, \, = \, \, \frac{3x^2}{x^3+1} \, .&#10;$$\&#10;\end{enumerate}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9,1902"/>
  <p:tag name="ORIGINALWIDTH" val="3040,12"/>
  <p:tag name="LATEXADDIN" val="\documentclass{article}\pagestyle{empty}&#10;\usepackage{amsmath}&#10;\usepackage{amsfonts}&#10;\usepackage{amssymb}&#10;\begin{document}&#10;\begin{minipage}{12.7 cm}&#10;{\sffamily{&#10;\begin{enumerate}&#10;\item[{\bf{b)}}] The derivative of $f(x) = \ln(\sin(x))$ is\\[-2mm]&#10;$$&#10;f'(x) \, \, = \, \, \frac{\cos(x)}{\sin(x)} \, \, = \, \, \cot(x) \, .&#10;$$&#10;\end{enumerate}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7,6865"/>
  <p:tag name="ORIGINALWIDTH" val="3350,581"/>
  <p:tag name="LATEXADDIN" val="\documentclass{article}\pagestyle{empty}&#10;\usepackage{amsmath}&#10;\usepackage{amsfonts}&#10;\usepackage{amssymb}&#10;\begin{document}&#10;\begin{minipage}{12.7 cm}&#10;{\sffamily{&#10;\begin{enumerate}&#10;\item[{\bf{c)}}] The derivative of $f(x) = \sqrt{\ln(x^2)}$ is\\[-2mm]&#10;$$&#10;f'(x) \, \, = \, \, \frac{1}{2 \sqrt{\ln(x^2)}} \cdot \frac{2x}{x^2} \, \, = \, \, \frac{1}{x \sqrt{\ln(x^2)}} \, .&#10;$$&#10;\end{enumerate}&#10;}}&#10;\end{minipage}&#10;\end{document}"/>
  <p:tag name="IGUANATEXSIZE" val="20"/>
  <p:tag name="IGUANATEXCURSOR" val="3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9,1902"/>
  <p:tag name="ORIGINALWIDTH" val="3910,761"/>
  <p:tag name="LATEXADDIN" val="\documentclass{article}\pagestyle{empty}&#10;\usepackage{amsmath}&#10;\usepackage{amsfonts}&#10;\usepackage{amssymb}&#10;\begin{document}&#10;\begin{minipage}{12.7 cm}&#10;{\sffamily{&#10;\begin{enumerate}&#10;\item[{\bf{d)}}] The derivative of $f(x) = \log_{10}(2 + \sin(x))$ is\\[-2mm]&#10;$$&#10;f'(x) \, \, = \, \, \frac{1}{(2 + \sin(x)) \ln(10)} \cdot \cos(x) \, \, = \, \, \frac{\cos(x)}{(2 + \sin(x)) \ln(10)} \, .&#10;$$&#10;\end{enumerate}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33,371"/>
  <p:tag name="ORIGINALWIDTH" val="3112,861"/>
  <p:tag name="LATEXADDIN" val="\documentclass{article}\pagestyle{empty}&#10;\usepackage{amsmath}&#10;\usepackage{amsfonts}&#10;\usepackage{amssymb}&#10;\begin{document}&#10;\begin{minipage}{9.7 cm}&#10;{\sffamily{&#10;{\bf{Examples:}}\\%[-1mm]&#10;{\bf{e)}} By using the laws of logarithms we have&#10;\begin{eqnarray*}&#10;\frac{\textrm{d}}{\textrm{d} \, x} \, \ln\left( \frac{x+1}{\sqrt{x-2}} \right) &amp; = &amp;&#10;\frac{\textrm{d}}{\textrm{d} \, x} \left( \ln(x+1) - \tfrac{1}{2} \ln(x-2) \right)\\&#10;&amp; = &amp; \frac{1}{x+1} - \frac{1}{2 (x-2)} \, .&#10;\end{eqnarray*}&#10;}}&#10;\end{minipage}&#10;\end{document}"/>
  <p:tag name="IGUANATEXSIZE" val="20"/>
  <p:tag name="IGUANATEXCURSOR" val="4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57,2179"/>
  <p:tag name="ORIGINALWIDTH" val="817,3979"/>
  <p:tag name="LATEXADDIN" val="\documentclass{article}\pagestyle{empty}&#10;\usepackage{amsmath}&#10;\usepackage{amsfonts}&#10;\usepackage{amssymb}&#10;\begin{document}&#10;\begin{minipage}{9.7 cm}&#10;{\sffamily{&#10;$$&#10;\frac{\textrm{d}}{\textrm{d} \, x} \, \ln|x| \, \, = \, \, \frac{1}{x}&#10;$$&#10;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4,106"/>
  <p:tag name="ORIGINALWIDTH" val="2945,632"/>
  <p:tag name="LATEXADDIN" val="\documentclass{article}\pagestyle{empty}&#10;\usepackage{amsmath}&#10;\usepackage{amsfonts}&#10;\usepackage{amssymb}&#10;\begin{document}&#10;\begin{minipage}{9.7 cm}&#10;{\sffamily{&#10;{\bf{f)}} The derivative of\\[-1mm]&#10;$$&#10;f(x) \, \, := \, \, \ln|x| \, \, = \, \left\{ \begin{array}{c l}&#10;\ln(x)  \, , &amp; \text{for $x &gt; 0$} \, , \\[1mm]&#10;\ln(-x) \, , &amp; \text{for $x &lt; 0$}&#10;\end{array} \right.&#10;$$&#10;is&#10;$$&#10;f'(x) \, \, = \, \left\{ \begin{array}{c l}&#10;\frac{1}{x}                    \, , &amp; \text{for $x &gt; 0$} \, , \\[2mm]&#10;-\frac{1}{-x} = \, \frac{1}{x} \, , &amp; \text{for $x &lt; 0$}&#10;\end{array} \right\} \, \, = \, \, \frac{1}{x} \, .&#10;$$&#10;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6,989"/>
  <p:tag name="ORIGINALWIDTH" val="2997,375"/>
  <p:tag name="LATEXADDIN" val="\documentclass{article}\pagestyle{empty}&#10;\usepackage{amsmath}&#10;\usepackage{amsfonts}&#10;\usepackage{amssymb}&#10;\begin{document}&#10;\begin{minipage}{9.7 cm}&#10;{\sffamily{&#10;{\bf{Example:}}\\[1mm]&#10;In order to differentiate $y = f(x) = x^{\sqrt{x}}$ we write&#10;$$&#10;x^{\sqrt{x}} \, \, = \, \, ({\rm{e}}^{\ln(x)})^{\sqrt{x}}  \, \, = \, \, {\rm{e}}^{\sqrt{x} \cdot \ln(x)}&#10;$$&#10;and get&#10;\begin{eqnarray*}&#10;\frac{\textrm{d}}{\textrm{d} \, x} \, x^{\sqrt{x}} &amp; = &amp; \frac{\textrm{d}}{\textrm{d} \, x} \left( {\rm{e}}^{\sqrt{x} \cdot \ln(x)} \right)\\[2mm]&#10;&amp; = &amp;&#10;{\rm{e}}^{\sqrt{x} \cdot \ln(x)} \cdot \left( \frac{1}{2 \sqrt{x}} \cdot \ln(x) + \sqrt{x} \cdot \frac{1}{x} \right)\\[2mm]&#10;&amp; = &amp;&#10;{\rm{e}}^{\sqrt{x} \cdot \ln(x)} \cdot \frac{\ln(x) + 2}{2 \sqrt{x}} \, . &#10;\end{eqnarray*}&#10;}}&#10;\end{minipage}&#10;\end{document}"/>
  <p:tag name="IGUANATEXSIZE" val="20"/>
  <p:tag name="IGUANATEXCURSOR" val="2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4368,954"/>
  <p:tag name="LATEXADDIN" val="\documentclass{article}\pagestyle{empty}&#10;\usepackage{amsmath}&#10;\usepackage{amsfonts}&#10;\usepackage{amssymb}&#10;\begin{document}&#10;\begin{minipage}{12.7 cm}&#10;{\sffamily{&#10;The method used in the following example is called {\bf{logarithmic differentiation}}.}}&#10;\end{minipage}&#10;\end{document}"/>
  <p:tag name="IGUANATEXSIZE" val="20"/>
  <p:tag name="IGUANATEXCURSOR" val="2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5,782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 In order to differentiate the function&#10;$$&#10;y \, \, = \, \, f(x) \, \, = \, \, \frac{x^{3/4} \, \sqrt{x^2+1}}{(3x + 2)^5}&#10;$$&#10;we take logarithms of both sides of the equation and use the laws of logarithms to simplify:&#10;$$&#10;\ln(y) \, \, = \, \, \tfrac{3}{4} \ln(x) \, + \, \tfrac{1}{2} \ln(x^2+1) \, - \, 5 \ln(3x+2) \, .&#10;$$&#10;Differentiating implicitly with respect to $x$ gives&#10;$$&#10;\frac{1}{y} \cdot y' \, \, = \, \, \tfrac{3}{4} \cdot \frac{1}{x} \, + \, \tfrac{1}{2} \cdot \frac{2x}{x^2+1} \, - \, 5 \cdot \frac{3}{3x+2} \, .&#10;$$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7,304"/>
  <p:tag name="ORIGINALWIDTH" val="3810,274"/>
  <p:tag name="LATEXADDIN" val="\documentclass{article}\pagestyle{empty}&#10;\usepackage{amsmath}&#10;\usepackage{amsfonts}&#10;\usepackage{amssymb}&#10;\begin{document}&#10;\begin{minipage}{12.7 cm}&#10;{\sffamily{&#10;Solving&#10;$$&#10;\frac{1}{y} \cdot y' \, \, = \, \, \tfrac{3}{4} \cdot \frac{1}{x} \, + \, \tfrac{1}{2} \cdot \frac{2x}{x^2+1} \, - \, 5 \cdot \frac{3}{3x+2}&#10;$$&#10;for $y'$, we get&#10;$$&#10;y' \, \, = \, \, y \cdot \left( \frac{3}{x} \, + \, \frac{x}{x^2+1} \, - \, \frac{15}{3x+2} \right) \, .&#10;$$&#10;Because we have an explicit expression for $y$, we can substitute and write&#10;$$&#10;y' \, \, = \, \, \frac{x^{3/4} \, \sqrt{x^2+1}}{(3x + 2)^5} \cdot \left( \frac{3}{x} \, + \, \frac{x}{x^2+1} \, - \, \frac{15}{3x+2} \right) \, .&#10;$$&#10;&#10;}}&#10;\end{minipage}&#10;\end{document}"/>
  <p:tag name="IGUANATEXSIZE" val="20"/>
  <p:tag name="IGUANATEXCURSOR" val="5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08,624"/>
  <p:tag name="ORIGINALWIDTH" val="4487,439"/>
  <p:tag name="LATEXADDIN" val="\documentclass{article}\pagestyle{empty}&#10;\usepackage{amsmath}&#10;\usepackage{amsfonts}&#10;\usepackage{amssymb}&#10;\begin{document}&#10;\begin{minipage}{12.7 cm}&#10;{\sffamily{&#10;{\bf{Steps in Logarithmic Differentiation:}}&#10;\begin{enumerate}&#10;\item[{\bf{1.}}] Take natural logarithms of both sides of an equation $y = f(x)$ and use the laws of logarithms to simplify.&#10;\item[{\bf{2.}}] Differentiate implicitly with respect to $x$.&#10;\item[{\bf{3.}}] Solve the resulting equation for $y'$.&#10;\end{enumerate}&#10;}}&#10;\end{minipage}&#10;\end{document}"/>
  <p:tag name="IGUANATEXSIZE" val="20"/>
  <p:tag name="IGUANATEXCURSOR" val="4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7,2141"/>
  <p:tag name="ORIGINALWIDTH" val="4483,69"/>
  <p:tag name="LATEXADDIN" val="\documentclass{article}\pagestyle{empty}&#10;\usepackage{amsmath}&#10;\usepackage{amsfonts}&#10;\usepackage{amssymb}&#10;\begin{document}&#10;\begin{minipage}{12.7 cm}&#10;{\sffamily{&#10;If $f(x) &lt; 0$ for some values of $x$, then $\ln(f(x))$ is not defined, but we can write $|y| = |f(x)|$ and use $(\ln|x|)' = \frac{1}{x}$.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7,462"/>
  <p:tag name="ORIGINALWIDTH" val="3431,571"/>
  <p:tag name="LATEXADDIN" val="\documentclass{article}\pagestyle{empty}&#10;\usepackage{amsmath}&#10;\usepackage{amsfonts}&#10;\usepackage{amssymb}&#10;\begin{document}&#10;\begin{minipage}{9.7 cm}&#10;{\sffamily{&#10;We have shown that if $f(x) = \ln(x)$, then $f'(x) = \frac{1}{x}$. Thus $f'(1) = 1$. We now use this&#10;fact to express the number ${\rm{e}}$ as a limit.\\[2mm]&#10;From the definition of a derivative as a limit, we have&#10;\begin{eqnarray*}&#10;f'(1) &amp; = &amp; \lim_{h \to 0} \frac{f(1+h) - f(1)}{h} \, \, = \, \, \lim_{x \to 0} \frac{f(1+x) - f(1)}{x} \\[1mm]&#10;&amp; = &amp;&#10;\lim_{x \to 0} \frac{\ln(1+x) - \ln(1)}{x} \, \, = \, \, \lim_{x \to 0} \left( \frac{1}{x} \cdot \ln(1+x) \right) \\[1mm]&#10;&amp; = &amp;&#10;\lim_{x \to 0} \, \ln(1+x)^{1/x} \, .&#10;\end{eqnarray*}&#10;Because $f'(1) = 1$, we have&#10;$$&#10;\lim_{x \to 0} \, \ln(1+x)^{1/x} \, \, = \, \, 1 \, .&#10;$$&#10;}}&#10;\end{minipage}&#10;\end{document}"/>
  <p:tag name="IGUANATEXSIZE" val="20"/>
  <p:tag name="IGUANATEXCURSOR" val="7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1,249"/>
  <p:tag name="ORIGINALWIDTH" val="3394,076"/>
  <p:tag name="LATEXADDIN" val="\documentclass{article}\pagestyle{empty}&#10;\usepackage{amsmath}&#10;\usepackage{amsfonts}&#10;\usepackage{amssymb}&#10;\begin{document}&#10;\begin{minipage}{9.6 cm}&#10;{\sffamily{&#10;Then by the continuity of the exponential function, we have&#10;\begin{eqnarray*}&#10;{\rm{e}} &amp; = &amp; {\rm{e}}^1 \, = \, {\rm{e}}^{\lim_{x \to 0} \ln \left( 1 + x \right)^{1/x}} \, = \, \lim_{x \to 0} \, {\rm{e}}^{\ln \left( 1 + x \right)^{1/x}}\\&#10;&amp; = &amp; \lim_{x \to 0} \left( 1 + x \right)^{1/x}&#10;\end{eqnarray*}&#10;and thus&#10;$$&#10;{\rm{e}} \, \, = \, \, \lim_{x \to 0} \left( 1 + x \right)^{1/x} \, .&#10;$$&#10;If we put $n = \frac{1}{x}$, then $n \to \infty$ as $x \to 0^+$ and so an alternative expression&#10;for {\rm{e}} is&#10;$$&#10;{\rm{e}} \, \, = \, \, \lim_{n \to \infty} \left( 1 + \frac{1}{n} \right)^n \, .&#10;$$&#10;}}&#10;\end{minipage}&#10;\end{document}"/>
  <p:tag name="IGUANATEXSIZE" val="20"/>
  <p:tag name="IGUANATEXCURSOR" val="4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5,234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Optimal Holding Time)}}\\[1mm]&#10;Sandro owns a parcel of land whose market value $t$ years from now is estimated to be $V(t) = 20 000 {\rm{e}}^{\sqrt{t}}$ GEL. If the prevailing&#10;interest rate remains constant at $7\%$ compounded continuously, when should Sandro sell if his goal&#10;is to maximize the present value of the investment?&#10;&#10;\vspace{0.2cm}&#10;{\bf{Solution:}}\\[1mm]&#10;In $t$ years, the market price of the land will be $V(t) = 20 000 {\rm{e}}^{\sqrt{t}}$. Using the present&#10;value formula, we find that the present value of this investment is\\[-2mm]&#10;$$&#10;P(t) \, \, = \, \, V(t) {\rm{e}}^{-0.07 t} \, \, = \, \, 20 000 {\rm{e}}^{\sqrt{t}-0.07t} \, .&#10;$$&#10;The goal is to maximize $P(t)$ for $t \geq 0$. The derivative of $P$ is&#10;$$&#10;P'(t) \, \, = \, \, 20 000 {\rm{e}}^{\sqrt{t}-0.07t} \cdot \left( \tfrac{1}{2 \sqrt{t}} - 0.07 \right) \, .&#10;$$&#10;}}&#10;\end{minipage}&#10;\end{document}"/>
  <p:tag name="IGUANATEXSIZE" val="20"/>
  <p:tag name="IGUANATEXCURSOR" val="3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6,123"/>
  <p:tag name="ORIGINALWIDTH" val="3394,826"/>
  <p:tag name="LATEXADDIN" val="\documentclass{article}\pagestyle{empty}&#10;\usepackage{amsmath}&#10;\usepackage{amsfonts}&#10;\usepackage{amssymb}&#10;\begin{document}&#10;\begin{minipage}{9.6 cm}&#10;{\sffamily{&#10;Thus, $P'(t)$ is undefined when $t=0$ and $P'(t) = 0$ when&#10;$$&#10;\tfrac{1}{2 \sqrt{t}} - 0.07 \, \, = \, \, 0 \qquad \text{ot} \qquad t \, \, = \, \, \left( \tfrac{1}{2 \cdot 0.07} \right)^2 \, \, \approx \, \, 51.02 \, .&#10;$$&#10;Since $P'(t)$ is positive if $0 &lt; t &lt;51.02$ and negative if $t &gt; 51.02$, it follows that&#10;the present value $P(t)$ is maximized when $t = 51.02$. Therefore,&#10;Sandro should sell his land about $51$ years from now.&#10;}}&#10;\end{minipage}&#10;\end{document}"/>
  <p:tag name="IGUANATEXSIZE" val="20"/>
  <p:tag name="IGUANATEXCURSOR" val="3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3392,576"/>
  <p:tag name="LATEXADDIN" val="\documentclass{article}\pagestyle{empty}&#10;\usepackage{amsmath}&#10;\usepackage{amsfonts}&#10;\usepackage{amssymb}&#10;\begin{document}&#10;\begin{minipage}{9.6 cm}&#10;{\sffamily{&#10;{\bf{Exponential Growth and Decay:}}\\[1mm]&#10;A quantity $Q(t)$ {\bf{grows exponentially}} if $Q(t) = Q_0 {\rm{e}}^{kt}$ for $k &gt; 0$ and&#10;{\bf{decays exponentially}} if $Q(t) = Q_0 {\rm{e}}^{-kt}$ for $k &gt; 0$.&#10;}}&#10;\end{minipage}&#10;\end{document}"/>
  <p:tag name="IGUANATEXSIZE" val="20"/>
  <p:tag name="IGUANATEXCURSOR" val="2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7,034"/>
  <p:tag name="ORIGINALWIDTH" val="3397,076"/>
  <p:tag name="LATEXADDIN" val="\documentclass{article}\pagestyle{empty}&#10;\usepackage{amsmath}&#10;\usepackage{amsfonts}&#10;\usepackage{amssymb}&#10;\begin{document}&#10;\begin{minipage}{9.6 cm}&#10;{\sffamily{&#10;It is customary to display graphs of exponential growth and decay only for $t \geq 0$ since the variable $t$ typically represents&#10;time in the corresponding exponential model.\\[1mm]&#10;Note that the graph of $Q(t) = Q_0 {\rm{e}}^{kt}$ begins at $Q_0$ on the vertical axis since&#10;$$&#10;Q(0) \, \, = \, \, Q_0 {\rm{e}}^{k \cdot 0} \, \, = \, \, Q_0 \, .&#10;$$&#10;Note also that the graph of $Q(t)= Q_0 {\rm{e}}^{kt}$ rises sharply since\\[-2mm]&#10;$$&#10;Q'(t) \, \, = \, \, k Q_0 {\rm{e}}^{kt} \, \, = \, \, k Q(t) \, ,&#10;$$&#10;i.e., $Q(t)$ always increases at a rate proportional to its current value, so&#10;the larger the value of $Q(t)$, the larger the slope.&#10;}}&#10;\end{minipage}&#10;\end{document}"/>
  <p:tag name="IGUANATEXSIZE" val="20"/>
  <p:tag name="IGUANATEXCURSOR" val="6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7,507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inding Exponential Sales Rates)}}\\[1mm]&#10;Lester is a marketing manager. He determines that sales of a particular commodity produced by his firm will&#10;decline exponentially once an advertising campaign for the commodity is terminated. Lester finds that the&#10;sales level is $21 000$ units at the time the advertising ends and $19 000$ units $5$ weeks later.&#10;\begin{itemize}&#10;\item[{\bf{a)}}] Find $S_0$ and $k$ so that $S(t) = S_0 {\rm{e}}^{-kt}$ gives the sales level $t$ weeks after the advertising&#10;campaign ends. What sales level should Lester expect $8$ weeks after the advertising ends?&#10;\item[{\bf{b)}}] At what rate should Lester expect sales to be changing $t$ weeks after the advertising&#10;ends? What is the percentage rate of change?&#10;\end{itemize}&#10;For simplicity, we express sales $S$ in terms of thousands of units.&#10;}}&#10;\end{minipage}&#10;\end{document}"/>
  <p:tag name="IGUANATEXSIZE" val="20"/>
  <p:tag name="IGUANATEXCURSOR" val="9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4,485"/>
  <p:tag name="ORIGINALWIDTH" val="4458,193"/>
  <p:tag name="LATEXADDIN" val="\documentclass{article}\pagestyle{empty}&#10;\usepackage{amsmath}&#10;\usepackage{amsfonts}&#10;\usepackage{amssymb}&#10;\begin{document}&#10;\begin{minipage}{12.6 cm}&#10;{\sffamily{&#10;{\bf{Solution:}}\\[1mm]&#10;{\bf{a)}} We know that $S = 21$ when $t=0$ and $S=19$ when $t=5$. Substituting $t=0$&#10;into the formula $S(t) = S_0 {\rm{e}}^{-kt}$, we get\\[-2mm]&#10;$$&#10;S(0) \, \, = \, \, 21 \, \, = \, \, S_0 {\rm{e}}^{-k \cdot 0} \, \, = \, \, S_0 \cdot 1 \, \, = \, \, S_0 \, ,&#10;$$&#10;so $S_0 = 21$ and $S(t) = 21 {\rm{e}}^{-kt}$ for all $t$. Substituting $S = 19$ and $t = 5$, we find&#10;that $19 = 21 {\rm{e}}^{-k \cdot 5}$ or&#10;$$&#10;{\rm{e}}^{-5k} \, \, = \, \, \tfrac{19}{21} \, .&#10;$$&#10;Taking the natural logarithm on each side of this equation, we find that&#10;$$&#10;\ln\left( {\rm{e}}^{-5k} \right) \, \, = \, \, \ln\left( \tfrac{19}{21} \right) \quad \Longrightarrow \quad&#10;k \, \, = \, \, -\tfrac{1}{5} \ln\left( \tfrac{19}{21} \right) \, \, \approx \, \, 0.02 \, .&#10;$$&#10;Thus, for all $t &gt; 0$, we have&#10;$$&#10;S(t) \, \, = \, \, 21 {\rm{e}}^{-0.02 t} \, .&#10;$$&#10;}}&#10;\end{minipage}&#10;\end{document}"/>
  <p:tag name="IGUANATEXSIZE" val="20"/>
  <p:tag name="IGUANATEXCURSOR" val="4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9,741"/>
  <p:tag name="ORIGINALWIDTH" val="4451,444"/>
  <p:tag name="LATEXADDIN" val="\documentclass{article}\pagestyle{empty}&#10;\usepackage{amsmath}&#10;\usepackage{amsfonts}&#10;\usepackage{amssymb}&#10;\begin{document}&#10;\begin{minipage}{12.6 cm}&#10;{\sffamily{&#10;For $t = 8$,&#10;$$&#10;S(8) \, \, = \, \, 21 {\rm{e}}^{-0.02 \cdot 8} \, \, \approx \, \, 17.9&#10;$$&#10;so the model predicts sales of about $17 900$ units $8$ weeks after the advertising&#10;campaign ends.&#10;&#10;\vspace{0.7cm}&#10;{\bf{b)}} The rate of change of sales is given by the derivative\\[-2mm]&#10;$$&#10;S'(t) \, \, = \, \, 21 \left( {\rm{e}}^{-0.02 t} \cdot (-0.02) \right) \, \, = \, \, -0.42 {\rm{e}}^{-0.02 t}&#10;$$&#10;and the percentage rate of change $PR$ is\\[-2mm]&#10;$$&#10;PR \, \, = \, \, \frac{100 S'(t)}{S(t)} \, \, = \, \, \frac{100 \left(-0.02 \cdot 21 \cdot {\rm{e}}^{-0.02 t} \right)}{21 {\rm{e}}^{-0.02 t}} \, .&#10;$$&#10;That is, sales are declining at the rate of $2\%$ per week.&#10;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7,709"/>
  <p:tag name="ORIGINALWIDTH" val="3397,825"/>
  <p:tag name="LATEXADDIN" val="\documentclass{article}\pagestyle{empty}&#10;\usepackage{amsmath}&#10;\usepackage{amsfonts}&#10;\usepackage{amssymb}&#10;\begin{document}&#10;\begin{minipage}{9.6 cm}&#10;{\sffamily{&#10;The graph of a function of the form&#10;$$&#10;Q(t) \, \, = \, \, \frac{B}{1 + A {\rm{e}}^{-Bkt}} \, ,&#10;$$&#10;where $A$, $B$, and $k$ are positive constants, is called a {\bf{logistic curve}}.&#10;A typical logistic curve is shown in the figure.\\[1mm]&#10;Notice that it rises steeply like an exponential curve at first, and then turns over and&#10;flattens out, approaching a horizontal asymptote. The asymptotic line represents a 'saturation level'&#10;for the quantity represented&#10;by the logistic curve and is called the {\bf{carrying capacity}} of the quantity.\\[1mm]&#10;E.g., in population models, the carrying capacity represents the maximum number of individuals&#10;the environment can support, while in a logistic model for the spread of an&#10;epidemic, the carrying capacity is the total number of individuals susceptible.}}&#10;\end{minipage}&#10;\end{document}"/>
  <p:tag name="IGUANATEXSIZE" val="20"/>
  <p:tag name="IGUANATEXCURSOR" val="9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4,462"/>
  <p:tag name="ORIGINALWIDTH" val="3396,326"/>
  <p:tag name="LATEXADDIN" val="\documentclass{article}\pagestyle{empty}&#10;\usepackage{amsmath}&#10;\usepackage{amsfonts}&#10;\usepackage{amssymb}&#10;\begin{document}&#10;\begin{minipage}{9.6 cm}&#10;{\sffamily{&#10;To sketch the graph of\\[-2mm]&#10;$$&#10;Q(t) \, \, = \, \, \frac{B}{1 + A {\rm{e}}^{-Bkt}} \, ,&#10;$$&#10;for $t \geq 0$, note that\\[-2mm]&#10;$$&#10;Q'(t) \, \, = \, \, \frac{AB^2 k {\rm{e}}^{-Bkt}}{(1 + A {\rm{e}}^{-Bkt})^2} &#10;$$&#10;and&#10;$$&#10;Q''(t) \, \, = \, \, \frac{AB^3 k^2 {\rm{e}}^{-Bkt}(-1 + A {\rm{e}}^{-Bkt})}{(1 + A {\rm{e}}^{-Bkt})^3} \, .&#10;$$&#10;$Q'(t) &gt; 0$ for all $t$, which means the graph of $Q(t)$ is always strictly monotonously increasing. The equation $Q''(t) = 0$ has exactly one solution,&#10;when&#10;$$&#10;-1 + A {\rm{e}}^{-Bkt} \, \, = \, \, 0 \quad \Rightarrow \quad t \, \, = \, \, \tfrac{\ln(A)}{Bk} \, .&#10;$$&#10;}}&#10;\end{minipage}&#10;\end{document}"/>
  <p:tag name="IGUANATEXSIZE" val="20"/>
  <p:tag name="IGUANATEXCURSOR" val="7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4,308"/>
  <p:tag name="ORIGINALWIDTH" val="3394,826"/>
  <p:tag name="LATEXADDIN" val="\documentclass{article}\pagestyle{empty}&#10;\usepackage{amsmath}&#10;\usepackage{amsfonts}&#10;\usepackage{amssymb}&#10;\begin{document}&#10;\begin{minipage}{9.6 cm}&#10;{\sffamily{&#10;As shown in the concavity diagram, there is an inflection point at since the concavity&#10;changes there (from up to down).\\[1mm]&#10;The vertical intercept of the logistic curve is\\[-2mm]&#10;$$&#10;Q(0) \, \, = \, \, \frac{B}{1 + A {\rm{e}}^0} \, \, = \, \, \frac{B}{1+A} \, .&#10;$$&#10;Since $Q(t)$ is defined for all $t \geq 0$, the logistic curve has no vertical asymptotes, but&#10;$y = B$ is a horizontal asymptote since&#10;$$&#10;\lim_{t \to \infty} Q(t) \, \, = \, \, \lim_{t \to \infty} \frac{B}{1 + A {\rm{e}}^{-Bkt}} \, \, = \, \, \frac{B}{1 + A \cdot 0}&#10;\, \, = \, \, B \, .&#10;$$&#10;}}&#10;\end{minipage}&#10;\end{document}"/>
  <p:tag name="IGUANATEXSIZE" val="20"/>
  <p:tag name="IGUANATEXCURSOR" val="7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2,464"/>
  <p:tag name="ORIGINALWIDTH" val="3404,575"/>
  <p:tag name="LATEXADDIN" val="\documentclass{article}\pagestyle{empty}&#10;\usepackage{amsmath}&#10;\usepackage{amsfonts}&#10;\usepackage{amssymb}&#10;\begin{document}&#10;\begin{minipage}{9.6 cm}&#10;{\sffamily{&#10;To summarize, the logistic curve begins at $Q(0) = \tfrac{B}{1+A}$ increases sharply (concave upward) until it reaches the inflection point at&#10;$t = \tfrac{\ln(A)}{Bk}$, and then flattens out as it continues to increase (concave downward) toward the horizontal asymptote $y = B$. Thus, $B$&#10;is the carrying capacity of the quantity $Q(t)$ represented by the logistic curve, and the inflection point at $t = \frac{\ln(A)}{BK}$&#10;can be interpreted as a point of diminishing growth.\\[5mm]&#10;Logistic curves often provide accurate models of population growth when environmental&#10;factors such as restricted living space, inadequate food supply, or urban&#10;pollution impose an upper bound on the possible size of the population. Logistic&#10;curves are also often used to describe the dissemination of privileged information or&#10;rumors in a community, where the restriction is the number of individuals susceptible&#10;to receiving such information.&#10;}} &#10;\end{minipage}&#10;\end{document}"/>
  <p:tag name="IGUANATEXSIZE" val="20"/>
  <p:tag name="IGUANATEXCURSOR" val="6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7,462"/>
  <p:tag name="ORIGINALWIDTH" val="4495,688"/>
  <p:tag name="LATEXADDIN" val="\documentclass{article}\pagestyle{empty}&#10;\usepackage{amsmath}&#10;\usepackage{amsfonts}&#10;\usepackage{amssymb}&#10;\begin{document}&#10;\begin{minipage}{12.7 cm}&#10;{\sffamily{&#10;In economics, the use of the derivative to approximate the change in a quantity that&#10;results from a $1$-unit increase in production is called {\bf{marginal analysis}}.\\[1mm]&#10;For instance, suppose $C(x)$ is the total cost of producing $x$ units of a particular commodity. If $x_0$&#10;units are currently being produced, then the derivative\\[-1mm]&#10;$$&#10;C'(x_0) \, \, = \, \, \lim_{h \to 0} \frac{C(x_0 + h) - C(x_0)}{h}&#10;$$&#10;is called the {\bf{marginal cost}} of producing $x_0$ units. Notice that if we take $h=1$, the&#10;difference quotient for $C(x_0)$ becomes\\[-1mm]&#10;$$&#10;\frac{C(x_0+1) - C(x_0)}{1} \, \, = \, \, C(x_0+1) - C(x_0)&#10;$$&#10;which is the cost of producing the $(x_0+1)^{\text{st}}$ unit. For $x_0$ large in relation $h=1$, this&#10;difference quotient is approximately equal to the derivative $C'(x_0)$; that is,\\[-1mm]&#10;$$&#10;C'(x_0) \, \, \approx \, \, \text{cost of producing the $(x_0+1)^{\text{st}}$ unit} \, .&#10;$$&#10;}}&#10;\end{minipage}&#10;\end{document}"/>
  <p:tag name="IGUANATEXSIZE" val="20"/>
  <p:tag name="IGUANATEXCURSOR" val="6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9,1339"/>
  <p:tag name="ORIGINALWIDTH" val="3394,076"/>
  <p:tag name="LATEXADDIN" val="\documentclass{article}\pagestyle{empty}&#10;\usepackage{amsmath}&#10;\usepackage{amsfonts}&#10;\usepackage{amssymb}&#10;\begin{document}&#10;\begin{minipage}{9.6 cm}&#10;{\sffamily{&#10;{\bf{Marginal Cost:}}\\[1mm]&#10;If $C(x)$ is the total cost of producing $x$ units of a commodity, then the {\bf{marginal cost}} of producing&#10;$x_0$ units is the derivative $C'(x_0)$.\\[1mm]&#10;For $x_0$ sufficiently large, the marginal cost $C'(x_0)$ can be used to estimate the {\bf{additional cost}} $C(x_0+1)-C(x_0)$&#10;incurred when the level of production is increased from $x_0$ to $x_0+1$.}}&#10;\end{minipage}&#10;\end{document}"/>
  <p:tag name="IGUANATEXSIZE" val="20"/>
  <p:tag name="IGUANATEXCURSOR" val="4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3,87"/>
  <p:tag name="ORIGINALWIDTH" val="2313,461"/>
  <p:tag name="LATEXADDIN" val="\documentclass{article}\pagestyle{empty}&#10;\usepackage{amsmath}&#10;\usepackage{amsfonts}&#10;\usepackage{amssymb}&#10;\begin{document}&#10;\begin{minipage}{9.6 cm}&#10;{\sffamily{&#10;{\bf{Marginal Cost:}}\\[1mm]&#10;The geometric relationship between&#10;\begin{itemize}&#10;\item the marginal cost $C'(x_0)$ and&#10;\item the additional cost $C(x_0+1) - C(x_0)$&#10;\end{itemize}&#10;is shown in the figure.}}&#10;\end{minipage}&#10;\end{document}"/>
  <p:tag name="IGUANATEXSIZE" val="20"/>
  <p:tag name="IGUANATEXCURSOR" val="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494,188"/>
  <p:tag name="LATEXADDIN" val="\documentclass{article}\pagestyle{empty}&#10;\usepackage{amsmath}&#10;\usepackage{amsfonts}&#10;\usepackage{amssymb}&#10;\begin{document}&#10;\begin{minipage}{12.7 cm}&#10;{\sffamily{&#10;The preceding discussion applies not only to cost, but also to other economic quantities.\\[1mm]&#10;Here is a summary of what is meant by marginal revenue and marginal profit and&#10;how these marginal quantities can be used to estimate $1$-unit changes in revenue and profit.}}&#10;\end{minipage}&#10;\end{document}"/>
  <p:tag name="IGUANATEXSIZE" val="20"/>
  <p:tag name="IGUANATEXCURSOR" val="3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2,576"/>
  <p:tag name="ORIGINALWIDTH" val="4492,689"/>
  <p:tag name="LATEXADDIN" val="\documentclass{article}\pagestyle{empty}&#10;\usepackage{amsmath}&#10;\usepackage{amsfonts}&#10;\usepackage{amssymb}&#10;\begin{document}&#10;\begin{minipage}{12.7 cm}&#10;{\sffamily{&#10;{\bf{Marginal Revenue and Marginal Profit}}\\[1mm]&#10;Suppose $R(x)$ is the revenue generated when $x$ units of a particular commodity are produced, and $P(x)$ is the&#10;corresponding profit. When $x=x_0$ units are being produced, then:&#10;\begin{itemize}&#10;\item The {\bf{marginal revenue}} is $R'(x_0)$. It approximates $R(x_0+1) - R(x_0)$, the&#10;additional revenue generated by producing one more unit.&#10;\item The {\bf{marginal profit}} is $P'(x_0)$. It approximates $P(x_0+1) - P(x_0)$, the&#10;additional profit obtained by producing one more unit.&#10;\end{itemize}&#10;}}&#10;\end{minipage}&#10;\end{document}"/>
  <p:tag name="IGUANATEXSIZE" val="20"/>
  <p:tag name="IGUANATEXCURSOR" val="6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5,722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Using Marginal Analysis to Make a Business Decision)}}\\[1mm]&#10;Quentin is the business manager for a company that manufactures digital cameras for the Canadian market. He&#10;determines that when $x$ hundred cameras are produced, the total profit will be $P$ thousand Canadian Dollars (CAD) where&#10;$$&#10;P(x) \, \, = \, \, -0.0035 x^3 + 0.07 x^2 + 25 x - 200 \, .&#10;$$&#10;Quentin plans to use marginal profit to make decisions regarding future production.&#10;\begin{itemize}&#10;\item[{\bf{a)}}] What is the marginal profit function?\\[-6mm]&#10;\item[{\bf{b)}}] The current level of production is $x=10$ ($1000$ cameras). Based on the marginal&#10;profit at this level of production, should Quentin recommend increasing or&#10;decreasing production to increase profit?\\[-6mm]&#10;\item[{\bf{c)}}] What decision should Quentin make if the current level of production is $x=50$&#10;($5000$ cameras)? What if $x=80$ ($8000$ cameras are being produced)?&#10;\end{itemize}&#10;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5,459"/>
  <p:tag name="ORIGINALWIDTH" val="4466,442"/>
  <p:tag name="LATEXADDIN" val="\documentclass{article}\pagestyle{empty}&#10;\usepackage{amsmath}&#10;\usepackage{amsfonts}&#10;\usepackage{amssymb}&#10;\begin{document}&#10;\begin{minipage}{12.6 cm}&#10;{\sffamily{&#10;{\bf{Solution:}}\\[1mm]&#10;{\bf{a)}} The marginal profit is given by the derivative\\[-2mm]&#10;$$&#10;P'(x) \, \, = \, \, -0.0035 \cdot (3x^2) + 0.07 \cdot (2x) + 25 \, \, = \, \, -0.0105 x^2 + 0.14x + 25 \, .&#10;$$&#10;&#10;{\bf{b)}} We find that $P'(10)=25.35$. This means that a $1$-unit increase in production&#10;from $10$ to $11$ hundred cameras increases profit by approximately $25.35$ thousand&#10;Canadian Dollars ($25350$ CAD), so Quentin may be inclined to increase production at this&#10;level.&#10;&#10;\vspace{0.2cm}&#10;{\bf{c)}} The marginal profit when $x=50$ is $P'(50)=5.75$, so increasing the level of&#10;production from $50$ units to $51$ ($5000$ cameras to $5100$) increases the profit by&#10;only about $5750$ CAD. This provides little incentive for Quentin to change the level&#10;of production.\\[1mm]&#10;At a level of production of $80$ units, the marginal profit $P'(80)=-31$ is&#10;negative, so raising the level of production by $1$ unit (from $8000$ units to $8100$)&#10;actually decreases the profit by approximately $31000$ CAD. Quentin may wish to decrease&#10;production in this case.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1,736"/>
  <p:tag name="ORIGINALWIDTH" val="4494,938"/>
  <p:tag name="LATEXADDIN" val="\documentclass{article}\pagestyle{empty}&#10;\usepackage{amsmath}&#10;\usepackage{amsfonts}&#10;\usepackage{amssymb}&#10;\begin{document}&#10;\begin{minipage}{12.7 cm}&#10;{\sffamily{&#10;Marginal analysis is an important example of a general approximation procedure&#10;based on the fact that since&#10;$$&#10;f'(x_0) \, \, = \, \, \lim_{h \to 0} \frac{f(x_0+h) - f(x_0)}{h}&#10;$$&#10;then for small $h$, the derivative $f'(x_0)$ is approximately equal to the difference quotient\\[-2mm]&#10;$$&#10;\frac{f(x_0+h) - f(x_0)}{h}&#10;$$&#10;We indicate this approximation by writing\\[-2mm]&#10;$$&#10;f'(x_0) \, \, \approx \, \, \frac{f(x_0+h) - f(x_0)}{h}&#10;$$&#10;or, equivalently,&#10;$$&#10;f(x_0+h) - f(x_0) \, \, \approx \, \, f'(x_0) \cdot h \, .&#10;$$&#10;}}&#10;\end{minipage}&#10;\end{document}"/>
  <p:tag name="IGUANATEXSIZE" val="20"/>
  <p:tag name="IGUANATEXCURSOR" val="5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85,189"/>
  <p:tag name="LATEXADDIN" val="\documentclass{article}\pagestyle{empty}&#10;\usepackage{amsmath}&#10;\usepackage{amsfonts}&#10;\usepackage{amssymb}&#10;\begin{document}&#10;\begin{minipage}{12.7 cm}&#10;{\sffamily{&#10;To emphasize that the incremental change is in the variable $x$, we write $h= \Delta x$ and summarize the incremental approximation formula as follows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4,859"/>
  <p:tag name="ORIGINALWIDTH" val="3655,043"/>
  <p:tag name="LATEXADDIN" val="\documentclass{article}\pagestyle{empty}&#10;\usepackage{amsmath}&#10;\usepackage{amsfonts}&#10;\usepackage{amssymb}&#10;\begin{document}&#10;\begin{minipage}{12.7 cm}&#10;{\sffamily{&#10;{\bf{Approximation by Increments:}}\\[1mm]&#10;If $f(x)$ is differentiable at $x=x_0$ and $\Delta x$ is a small change in $x$, then&#10;$$&#10;f(x_0 + \Delta x) \, \, \approx \, \, f(x_0) + f'(x_0) \Delta x&#10;$$&#10;or, equivalently, if $\Delta f = f(x_0 + \Delta x) - f(x_0)$, then&#10;$$&#10;\Delta f \, \, \approx \, \, f'(x_0) \cdot \Delta x \, .&#10;$$&#10;}}&#10;\end{minipage}&#10;\end{document}"/>
  <p:tag name="IGUANATEXSIZE" val="20"/>
  <p:tag name="IGUANATEXCURSOR" val="4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7,96"/>
  <p:tag name="ORIGINALWIDTH" val="4494,938"/>
  <p:tag name="LATEXADDIN" val="\documentclass{article}\pagestyle{empty}&#10;\usepackage{amsmath}&#10;\usepackage{amsfonts}&#10;\usepackage{amssymb}&#10;\begin{document}&#10;\begin{minipage}{12.7 cm}&#10;{\sffamily{&#10;{\bf{Example: (Estimating a Change in Required Labor)}}\\[1mm]&#10;The daily output at a certain factory is $Q(L)=900 L^{1/3}$ units, where $L$ denotes the&#10;size of the labor force measured in worker-hours. Currently, $1000$ worker-hours of&#10;labor are used each day.\\[0.5mm]&#10;Use calculus to estimate the number of additional workerhours&#10;of labor that will be needed to increase daily output by $15$ units.&#10;&#10;\vspace{0.2cm}&#10;{\bf{Solution:}}\\[1mm]&#10;Solve for $\Delta L$ using the approximation formula $\Delta Q \approx Q'(L) \cdot \Delta L$ with\\[-2mm]&#10;$$&#10;\Delta Q \, \, = \, \, 15 \, , \quad L \, \, = \, \, 1000 \, , \quad \text{and} \quad Q'(L) \, \, = \, \, 300 L^{-2/3}&#10;$$&#10;to get&#10;$$&#10;15 \, \, \approx \, \, 300 \cdot 1000^{-2/3} \cdot \Delta L&#10;$$&#10;such that&#10;$$&#10;\Delta L \, \, \approx \, \, \tfrac{15}{300} 1000^{2/3} \, \, = \, \, \tfrac{15}{300} 10^2 \, \, = \, \, \text{$5$ worker-hours} \, .&#10;$$&#10;}}&#10;\end{minipage}&#10;\end{document}"/>
  <p:tag name="IGUANATEXSIZE" val="20"/>
  <p:tag name="IGUANATEXCURSOR" val="4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1,3911"/>
  <p:tag name="ORIGINALWIDTH" val="3393,326"/>
  <p:tag name="LATEXADDIN" val="\documentclass{article}\pagestyle{empty}&#10;\usepackage{amsmath}&#10;\usepackage{amsfonts}&#10;\usepackage{amssymb}&#10;\begin{document}&#10;\begin{minipage}{9.6 cm}&#10;{\sffamily{&#10;Sometimes the increment $\Delta x$ is referred to as the {\bf{differential of $x$}} and is denoted by&#10;$\textrm{d}x$, and then our approximation formula can be written as.\\[-2mm]&#10;$$&#10;\textrm{d} f(x) \, \, \approx \, \, f'(x) \cdot \textrm{d}x \, .&#10;$$&#10;If $y = f(x)$, the differential of $y$ is defined to be $\textrm{d} y = f'(x) \textrm{d}x$.}}&#10;\end{minipage}&#10;\end{document}"/>
  <p:tag name="IGUANATEXSIZE" val="20"/>
  <p:tag name="IGUANATEXCURSOR" val="3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7,4204"/>
  <p:tag name="ORIGINALWIDTH" val="3387,327"/>
  <p:tag name="LATEXADDIN" val="\documentclass{article}\pagestyle{empty}&#10;\usepackage{amsmath}&#10;\usepackage{amsfonts}&#10;\usepackage{amssymb}&#10;\begin{document}&#10;\begin{minipage}{9.6 cm}&#10;{\sffamily{&#10;{\bf{Differentials:}}\\[1mm]&#10;The {\bf{differential of $x$}} is $\textrm{d} x = \Delta x$.\\[1mm]&#10;If additionally $y=f(x)$ is a differentiable&#10;function of $x$, then $\textrm{d} y = f'(x) \cdot \textrm{d}x$ is {\bf{the differential of $y$}}.&#10;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8,969"/>
  <p:tag name="ORIGINALWIDTH" val="3395,576"/>
  <p:tag name="LATEXADDIN" val="\documentclass{article}\pagestyle{empty}&#10;\usepackage{amsmath}&#10;\usepackage{amsfonts}&#10;\usepackage{amssymb}&#10;\begin{document}&#10;\begin{minipage}{9.6 cm}&#10;{\sffamily{&#10;A geometric interpretation of the approximation of $\Delta y$ by the differential $\textrm{d} y$ is&#10;shown in the figure.\\[1mm]&#10;Note that since the slope of the tangent line at $(x,f(x))$ is $f'(x)$,&#10;the differential&#10;$$&#10;\textrm{d}y \, \, = \, \, f'(x) \cdot \textrm{d}x&#10;$$&#10;is the change in the height of the tangent that corresponds&#10;to a change from $x$ to $x+ \Delta x$.\\[1mm]&#10;On the other hand, $\Delta y$ is the change in the height&#10;of the curve corresponding to this change in $x$.\\[1mm]&#10;Hence, approximating $\Delta y$ by the differential&#10;$\textrm{d} y$ is the same as approximating the change in the height of a curve by the&#10;change in height of the tangent line.\\[1mm]&#10;If $\Delta x$ is small, it is reasonable to expect this to&#10;be a good approximation.}}&#10;\end{minipage}&#10;\end{document}"/>
  <p:tag name="IGUANATEXSIZE" val="20"/>
  <p:tag name="IGUANATEXCURSOR" val="8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2,779"/>
  <p:tag name="ORIGINALWIDTH" val="4305,212"/>
  <p:tag name="LATEXADDIN" val="\documentclass{article}\pagestyle{empty}&#10;\usepackage{amsmath}&#10;\usepackage{amsfonts}&#10;\usepackage{amssymb}&#10;\begin{document}&#10;\begin{minipage}{12.7 cm}&#10;{\sffamily{&#10;{\bf{Example: (Finding Differentials)}}\\[1mm]&#10;In each case, find the differential of $y=f(x)$:&#10;$$&#10;{\bf{a)}} \quad f(x) \, \, = \, \, x^3 - 7x^2 + 2 \, , \qquad \text{and} \qquad&#10;{\bf{b)}} \quad f(x) \, \, = \, \, (x^2+5) (3-x-2x^2) \, .&#10;$$&#10;&#10;\vspace{0.2cm}&#10;{\bf{Solution:}}\\[1mm]&#10;{\bf{a)}} We have&#10;$$&#10;{\textrm{d}} y \, \, = \, \, f'(x) \cdot {\textrm{d}} x \, \, = \, \, \left( 3x^2 - 14 x \right) {\textrm{d}} x \, .&#10;$$&#10;&#10;{\bf{b)}} By the product rule,&#10;$$&#10;{\textrm{d}} y \, \, = \, \, f'(x) \cdot {\textrm{d}} x \, \, = \, \, \left( (x^2 + 5)(-1-4x)+ 2x(3-x-2x^2) \right) {\textrm{d}} x \, .&#10;$$&#10;}}&#10;\end{minipage}&#10;\end{document}"/>
  <p:tag name="IGUANATEXSIZE" val="20"/>
  <p:tag name="IGUANATEXCURSOR" val="7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0,21"/>
  <p:tag name="ORIGINALWIDTH" val="4466,442"/>
  <p:tag name="LATEXADDIN" val="\documentclass{article}\pagestyle{empty}&#10;\usepackage{amsmath}&#10;\usepackage{amsfonts}&#10;\usepackage{amssymb}&#10;\begin{document}&#10;\begin{minipage}{12.6 cm}&#10;{\sffamily{&#10;{\bf{Example: (Using Marginal Analysis in Labor Management)}}\\[1mm]&#10;Zoya manages a factory whose daily output is $Q(x,y) = 2 x^3 + x^2 y + y^3$ units, where $x$&#10;is the number of hours of skilled labor used and $y$ is the number of hours of unskilled&#10;labor. The current labor force consists of $30$ hours of skilled labor and $20$ hours of&#10;unskilled labor. Zoya wants to increase the skilled labor level by $1$ hour without&#10;affecting the daily output.\\[0.5mm]&#10;Show how she can use calculus to estimate the change in&#10;unskilled labor required to carry out this policy.&#10;&#10;\vspace{0.2cm}&#10;{\bf{Solution:}}\\[1mm]&#10;The current level of output is the value of $Q(x,y)$ when $x=30$ and $y=20$. That is,&#10;$$&#10;Q(30,20) \, \, = \, \, 2 \cdot 30^3 + 30^2 \cdot 20 + 20^3 \, \, = \, \, 80000 \quad \text{[units]}&#10;$$&#10;If output is to be maintained at this level, the relationship between skilled labor $x$ and&#10;unskilled labor $y$ is given by the equation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4,211"/>
  <p:tag name="ORIGINALWIDTH" val="4452,194"/>
  <p:tag name="LATEXADDIN" val="\documentclass{article}\pagestyle{empty}&#10;\usepackage{amsmath}&#10;\usepackage{amsfonts}&#10;\usepackage{amssymb}&#10;\begin{document}&#10;\begin{minipage}{12.6 cm}&#10;{\sffamily{&#10;$$&#10;80000 \, \, = \, \, 2 x^3 + x^2 y + y^3&#10;$$&#10;which defines $y$ implicitly as a function of $x$.\\[1mm]&#10;The goal is to estimate the change in $y$ that corresponds to a $1$-unit increase in $x$&#10;when $x$ and $y$ are related by this equation. As we already saw, the change in $y$ caused by a&#10;$1$-unit increase in $x$ can be approximated by the derivative $y' = \frac{\textrm{d} y}{\textrm{d} x}$.\\[1mm]&#10;To find this derivative, use implicit differentiation:&#10;\begin{eqnarray*}&#10;\frac{\textrm{d}}{\textrm{d} x} 80000 &amp; = &amp; \frac{\textrm{d}}{\textrm{d} x} Q(x,y(x)) \, \, = \, \,&#10;6 \frac{\textrm{d}x^3}{\textrm{d} x}  + 2 \frac{\textrm{d} (x^2 y)}{\textrm{d} x} + \frac{\textrm{d} y^3}{\textrm{d} x}\\&#10;&amp; \Downarrow &amp; \\&#10;0 &amp; = &amp; 6x^2 + x^2 y' + 2xy + 3y^2 y'\\&#10;&amp; \Downarrow &amp; \\&#10;y' &amp; = &amp; -\frac{6x^2 + 2xy}{x^2 + 3y^2}&#10;\end{eqnarray*}&#10;}}&#10;\end{minipage}&#10;\end{document}"/>
  <p:tag name="IGUANATEXSIZE" val="20"/>
  <p:tag name="IGUANATEXCURSOR" val="5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5,1332"/>
  <p:tag name="ORIGINALWIDTH" val="4457,443"/>
  <p:tag name="LATEXADDIN" val="\documentclass{article}\pagestyle{empty}&#10;\usepackage{amsmath}&#10;\usepackage{amsfonts}&#10;\usepackage{amssymb}&#10;\begin{document}&#10;\begin{minipage}{12.6 cm}&#10;{\sffamily{&#10;Now evaluate this derivative when $x=30$ and $y=20$ to conclude that&#10;$$&#10;{\text{change in $y$}} \, \, \approx \, \, y' \Big|_{x = 30 \, , \, y = 20}&#10;\, \, = \, \, -\frac{630^2 + 2 \cdot 30 \cdot 20}{30^2 + 3 \cdot 20^2}&#10;\, \, = \, \, -3.14 \quad \text{[hours]}&#10;$$&#10;That is, to maintain the current level of output, unskilled labor should be decreased&#10;by approximately $3.14$ hours to offset a $1$-hour increase in skilled labor.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2,614"/>
  <p:tag name="ORIGINALWIDTH" val="4458,193"/>
  <p:tag name="LATEXADDIN" val="\documentclass{article}\pagestyle{empty}&#10;\usepackage{amsmath}&#10;\usepackage{amsfonts}&#10;\usepackage{amssymb}&#10;\begin{document}&#10;\begin{minipage}{12.6 cm}&#10;{\sffamily{&#10;{\bf{Note:}} In general, if $Q(x,y)$ gives the production corresponding to $x$ units of one&#10;input and $y$ units of another, then an equation of the form $Q(x, y)=C$ for constant&#10;$C$ is called an {\bf{isoquant}}.\\[1mm]&#10;Such equations are used by economists to explore the different combinations of inputs $x$ and $y$&#10;that result in the same level of production.\\[1mm]&#10;In this context, the rate $\frac{\textrm{d} y}{\textrm{d} x}$,&#10;often found by implicit differentiation is called the {\bf{marginal rate of technical substitution}} (MRTS).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3,1572"/>
  <p:tag name="ORIGINALWIDTH" val="4457,443"/>
  <p:tag name="LATEXADDIN" val="\documentclass{article}\pagestyle{empty}&#10;\usepackage{amsmath}&#10;\usepackage{amsfonts}&#10;\usepackage{amssymb}&#10;\begin{document}&#10;\begin{minipage}{12.6 cm}&#10;{\sffamily{&#10;In certain practical problems, $x$ and $y$ are related by an equation and can be regarded&#10;as functions of a third variable $t$, which often represents time.\\[1mm]&#10;Then implicit differentiation can be used to relate $\frac{\textrm{d} x}{\textrm{d} t}$ to&#10;$\frac{\textrm{d} y}{\textrm{d} t}$. This kind of problem is said to involve&#10;{\bf{related rates}}. Here is a general procedure for analyzing related rates problems.&#10;}}&#10;\end{minipage}&#10;\end{document}"/>
  <p:tag name="IGUANATEXSIZE" val="20"/>
  <p:tag name="IGUANATEXCURSOR" val="5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7,593"/>
  <p:tag name="ORIGINALWIDTH" val="4448,444"/>
  <p:tag name="LATEXADDIN" val="\documentclass{article}\pagestyle{empty}&#10;\usepackage{amsmath}&#10;\usepackage{amsfonts}&#10;\usepackage{amssymb}&#10;\begin{document}&#10;\begin{minipage}{12.6 cm}&#10;{\sffamily{&#10;{\bf{A Procedure for Solving Related Rates Problems}}&#10;\begin{itemize}&#10;\item[{\bf{1.}}] Draw a figure (if appropriate) and assign (known and unknown) variables.&#10;\item[{\bf{2.}}] Find a formula relating the variables.&#10;\item[{\bf{3.}}] Use implicit differentiation to find how the rates are related.&#10;\item[{\bf{4.}}] Substitute any given numerical information into the equation in step {\bf{3.}} to&#10;find the desired rate of change.&#10;\end{itemize}&#10;}}&#10;\end{minipage}&#10;\end{document}"/>
  <p:tag name="IGUANATEXSIZE" val="20"/>
  <p:tag name="IGUANATEXCURSOR" val="3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7,473"/>
  <p:tag name="ORIGINALWIDTH" val="4460,443"/>
  <p:tag name="LATEXADDIN" val="\documentclass{article}\pagestyle{empty}&#10;\usepackage{amsmath}&#10;\usepackage{amsfonts}&#10;\usepackage{amssymb}&#10;\begin{document}&#10;\begin{minipage}{12.6 cm}&#10;{\sffamily{&#10;{\bf{Example: (Using Marginal Analysis in Labor Management)}}\\[1mm]&#10;The manager of a company determines that when $q$ hundred units of a particular&#10;commodity are produced, the total cost of production is $C$ thousand GEL, where&#10;$C^2 - 3 q^3 = 4275$. When $1500$ units are being produced, the level of production is&#10;increasing at the rate of $20$ units per week.\\[1mm]&#10;What is the total cost at this time, and at what rate is it changing?&#10;&#10;\vspace{0.5cm}&#10;{\bf{Solution:}}\\[1mm]&#10;We want to find $\frac{\textrm{d} C}{\textrm{d} t}$ when $q = 15$ (i.e. $1500$ units) and $\frac{\textrm{d} q}{\textrm{d} t} = 0.2$ (i.e. $20$ units per week with&#10;$q$ measured in hundreds of units).\\[1mm]&#10;Differentiating the equation $C^2 - 3 q^3 = 4275$ implicitly with respect to time, we get&#10;$$&#10;2C \frac{\textrm{d} C}{\textrm{d} t} - 3 \left( 3 q^2 \frac{\textrm{d} q}{\textrm{d} t} \right) \, \, = \, \, 0&#10;\qquad \Longrightarrow \qquad&#10;2C \frac{\textrm{d} C}{\textrm{d} t} \, \, = \, \, 9 q^2 \frac{\textrm{d} q}{\textrm{d} t} \, .&#10;$$&#10;}}&#10;\end{minipage}&#10;\end{document}"/>
  <p:tag name="IGUANATEXSIZE" val="20"/>
  <p:tag name="IGUANATEXCURSOR" val="8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6,483"/>
  <p:tag name="ORIGINALWIDTH" val="4456,693"/>
  <p:tag name="LATEXADDIN" val="\documentclass{article}\pagestyle{empty}&#10;\usepackage{amsmath}&#10;\usepackage{amsfonts}&#10;\usepackage{amssymb}&#10;\begin{document}&#10;\begin{minipage}{12.6 cm}&#10;{\sffamily{&#10;Hence,&#10;$$&#10;\frac{\textrm{d} C}{\textrm{d} t} \, \, = \, \, \frac{9 q^2}{2C} \frac{\textrm{d} q}{\textrm{d} t} \, .&#10;$$&#10;When $q=15$, the cost $C$ satisfies&#10;$$&#10;C^2 - 3 \cdot 15^3 \, \, = \, \, 4275 \quad \Longrightarrow \quad C^2 \, \, = \, \, 14400&#10;\quad \Longrightarrow \quad C \, \, = \, \, 120&#10;$$&#10;and by substituting $q=15$, $C=120$, and $\frac{\textrm{d} q}{\textrm{d} t} = 0.2$ into the formula for $\frac{\textrm{d} C}{\textrm{d} t}$,&#10;we obtain&#10;$$&#10;\frac{\textrm{d} C}{\textrm{d} t} \, \, = \, \, \left( \frac{9 \cdot 15^2}{2 \cdot 120} \right) \cdot 0.2 \, \, = \, \, 1.6875&#10;$$&#10;thousand GEL per week. To summarize, the cost of producing $1500$ units is $120000$ ($C=120$) and at this level&#10;of production, total cost is increasing at the rate of $1687.50$ per week.&#10;}}&#10;\end{minipage}&#10;\end{document}"/>
  <p:tag name="IGUANATEXSIZE" val="20"/>
  <p:tag name="IGUANATEXCURSOR" val="6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4,462"/>
  <p:tag name="ORIGINALWIDTH" val="4460,443"/>
  <p:tag name="LATEXADDIN" val="\documentclass{article}\pagestyle{empty}&#10;\usepackage{amsmath}&#10;\usepackage{amsfonts}&#10;\usepackage{amssymb}&#10;\begin{document}&#10;\begin{minipage}{12.6 cm}&#10;{\sffamily{&#10;{\bf{Example: (Using Marginal Analysis in Labor Management)}}\\[1mm]&#10;When the price of a certain commodity is $p$ EUR per unit, the manufacturer is willing&#10;to supply $x$ thousand units, where&#10;$$&#10;x^2 - 2x \sqrt{p} - p^2 \, \, = \, \, 31 \, .&#10;$$&#10;How fast is the supply changing when the price is $9$ EUR per unit and is increasing at the&#10;rate of $20$ Cents per week?&#10;&#10;\vspace{0.5cm}&#10;{\bf{Solution:}}\\[1mm]&#10;We know that when $p=9$, $\frac{\textrm{d} p}{\textrm{d} t} = 0.20$. We are asked to find $\frac{\textrm{d} x}{\textrm{d} t}$&#10;at this time. First, note that when $p=9$, we have\\[-1mm]&#10;$$&#10;x^2 - 2x \sqrt{9} - 9^2 \, \, = \, \, 31 \qquad \Longrightarrow \qquad 0 \, \, = \, \, x^2 - 6x - 112 \, \, = \, \, (x-14)(x+8) &#10;$$&#10;such that $x = 14$ (the other root $-8$ has no practical value).&#10;&#10;}}&#10;\end{minipage}&#10;\end{document}"/>
  <p:tag name="IGUANATEXSIZE" val="20"/>
  <p:tag name="IGUANATEXCURSOR" val="8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3,255"/>
  <p:tag name="ORIGINALWIDTH" val="4450,694"/>
  <p:tag name="LATEXADDIN" val="\documentclass{article}\pagestyle{empty}&#10;\usepackage{amsmath}&#10;\usepackage{amsfonts}&#10;\usepackage{amssymb}&#10;\begin{document}&#10;\begin{minipage}{12.6 cm}&#10;{\sffamily{&#10;Next, we differentiate both sides of the supply equation&#10;$$&#10;x^2 - 2x \sqrt{p} - p^2 \, \, = \, \, 31 \, .&#10;$$&#10;implicitly with respect to time to obtain (together with $x' = \frac{\textrm{d} x}{\textrm{d} t}$ and $p' = \frac{\textrm{d} x}{\textrm{d} t}$)&#10;$$&#10;2x x' - 2 \left( x' \sqrt{p} + x \left( \frac{p'}{2 \sqrt{p}} \right) \right) - 2p p' \, \, = \, \, 0&#10;$$&#10;Finally, by substituting $x=14$, $p=9$, and $p' = 0.20$ into this rate equation and then&#10;solving for the required rate $x'$, we get&#10;\begin{eqnarray*}&#10;0 &amp; = &amp; 2 \cdot 14 \cdot x' - 2 \left( x' \sqrt{9} + 14 \left( \frac{0.20}{2 \sqrt{9}} \right) \right) - 2 \cdot 9 \cdot 0.20&#10;\end{eqnarray*}&#10;}}&#10;\end{minipage}&#10;\end{document}"/>
  <p:tag name="IGUANATEXSIZE" val="20"/>
  <p:tag name="IGUANATEXCURSOR" val="7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2,823"/>
  <p:tag name="ORIGINALWIDTH" val="4455,193"/>
  <p:tag name="LATEXADDIN" val="\documentclass{article}\pagestyle{empty}&#10;\usepackage{amsmath}&#10;\usepackage{amsfonts}&#10;\usepackage{amssymb}&#10;\begin{document}&#10;\begin{minipage}{12.6 cm}&#10;{\sffamily{&#10;and hence&#10;\begin{eqnarray*}&#10;0 &amp; = &amp; 2 \cdot 14 \cdot x' - 2 \left( x' \sqrt{9} + 14 \left( \frac{0.20}{2 \sqrt{9}} \right) \right) - 2 \cdot 9 \cdot 0.20\\&#10;&amp; \Downarrow &amp; \\&#10;x' &amp; = &amp; \frac{14 \cdot \tfrac{1}{3} \cdot 0.20 + 18 \cdot 0.20}{22} \, \, \approx \, \, 0.206&#10;\end{eqnarray*}&#10;Since the supply is given in terms of thousands of units, it follows that the supply is&#10;increasing at the rate of $0.206 \cdot 1000 = 206$ units per week.&#10;}}&#10;\end{minipage}&#10;\end{document}"/>
  <p:tag name="IGUANATEXSIZE" val="20"/>
  <p:tag name="IGUANATEXCURSOR" val="5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41,3949"/>
  <p:tag name="ORIGINALWIDTH" val="4080,24"/>
  <p:tag name="LATEXADDIN" val="\documentclass{article}\pagestyle{empty}&#10;\usepackage{amsmath}&#10;\usepackage{amsfonts}&#10;\usepackage{amssymb}&#10;\begin{document}&#10;\begin{minipage}{12.7 cm}&#10;{\sffamily{&#10;{\bf{Exercise:}} Differentiate the following functions\\[-2mm]&#10;$$&#10;{\bf{a)}} \quad f(x) \, = \, x \cdot \ln(x) - x \, , \qquad {\bf{b)}} \quad f(x) \, = \, \sin(\ln(x)) \, ,&#10;$$&#10;as well as\\[-4mm]&#10;$$&#10;{\bf{c)}} \quad f(x) \, = \, \log_{10}(1 + \cos(x)) \, , \qquad \text{and} \qquad&#10;{\bf{d)}} \quad f(x) \, = \, \frac{{\rm{e}}^{-x} \cos^2(x)}{x^2 + x + 1}&#10;$$&#10;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3,855"/>
  <p:tag name="ORIGINALWIDTH" val="3759,28"/>
  <p:tag name="LATEXADDIN" val="\documentclass{article}\pagestyle{empty}&#10;\usepackage{amsmath}&#10;\usepackage{amsfonts}&#10;\usepackage{amssymb}&#10;\begin{document}&#10;\begin{minipage}{12.7 cm}&#10;{\sffamily{&#10;{\bf{Solution:}}\\[1mm]&#10;{\bf{a)}} With the aid of the product rule, we have\\[-6mm]&#10;\begin{eqnarray*}&#10;f'(x) &amp; = &amp; \ln(x) + x \cdot \frac{1}{x} - 1 \, \, = \, \, \ln(x) + 1 - 1 \, \, = \, \, \ln(x) \, .&#10;\end{eqnarray*}&#10;{\bf{b)}} With the aid of the chain rule, we have\\[-6mm]&#10;\begin{eqnarray*}&#10;f'(x) &amp; = &amp; \cos(\ln(x)) \cdot \frac{1}{x} \, \, = \, \, \frac{\cos(\ln(x))}{x} \, .&#10;\end{eqnarray*}&#10;&#10;}}&#10;\end{minipage}&#10;\end{document}"/>
  <p:tag name="IGUANATEXSIZE" val="20"/>
  <p:tag name="IGUANATEXCURSOR" val="5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3,4646"/>
  <p:tag name="ORIGINALWIDTH" val="3681,29"/>
  <p:tag name="LATEXADDIN" val="\documentclass{article}\pagestyle{empty}&#10;\usepackage{amsmath}&#10;\usepackage{amsfonts}&#10;\usepackage{amssymb}&#10;\begin{document}&#10;\begin{minipage}{12.7 cm}&#10;{\sffamily{&#10;$$&#10;{\bf{c)}} \quad f(x) \, = \, \log_{10}(1 + \cos(x)) \, , \qquad \text{and} \qquad&#10;{\bf{d)}} \quad f(x) \, = \, \frac{{\rm{e}}^{-x} \cos^2(x)}{x^2 + x + 1}&#10;$$&#10;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3,037"/>
  <p:tag name="ORIGINALWIDTH" val="4501,688"/>
  <p:tag name="LATEXADDIN" val="\documentclass{article}\pagestyle{empty}&#10;\usepackage{amsmath}&#10;\usepackage{amsfonts}&#10;\usepackage{amssymb}&#10;\begin{document}&#10;\begin{minipage}{12.7 cm}&#10;{\sffamily{&#10;{\bf{c)}} With $\frac{\textrm{d}}{\textrm{d} \, x} \, \log_b(x) = \frac{1}{x \cdot \ln(b)}$ and the aid of the chain rule, we have\\[-6mm]&#10;\begin{eqnarray*}&#10;f'(x) &amp; = &amp; \frac{-\sin(x)}{\ln(10) \cdot (1 + \cos(x)} \, .&#10;\end{eqnarray*}&#10;{\bf{d)}} With the aid of logarithmic differentiation, we first take logarithms of both sides of the equation and use the laws of logarithms to simplify:\\[-2mm]&#10;$$&#10;\ln(f(x)) \, \, = \, \, -x + 2 \ln(\cos(x)) - \ln(x^2+x+1) \, .&#10;$$&#10;Differentiating implicitly with respect to $x$ gives\\[-2mm]&#10;$$&#10;\frac{1}{f(x)} \cdot f'(x) \, \, = \, \, -1 - 2 \frac{\sin(x)}{\cos(x)} - \frac{2x + 1}{x^2 + x + 1} \, \, = \, \,&#10;-\frac{x^2 + 3x + 1}{x^2 + x + 1} - 2 \tan(x) \, .&#10;$$&#10;&#10;}}&#10;\end{minipage}&#10;\end{document}"/>
  <p:tag name="IGUANATEXSIZE" val="20"/>
  <p:tag name="IGUANATEXCURSOR" val="6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5,118"/>
  <p:tag name="ORIGINALWIDTH" val="3660,293"/>
  <p:tag name="LATEXADDIN" val="\documentclass{article}\pagestyle{empty}&#10;\usepackage{amsmath}&#10;\usepackage{amsfonts}&#10;\usepackage{amssymb}&#10;\begin{document}&#10;\begin{minipage}{12.7 cm}&#10;{\sffamily{&#10;Next,&#10;$$&#10;\frac{1}{f(x)} \cdot f'(x) \, \, = \, \, -\frac{x^2 + 3x + 1}{x^2 + x + 1} - 2 \tan(x)&#10;$$&#10;gives the seeked derivative&#10;$$&#10;f'(x) \, \, = \, \, - \left( \frac{x^2 + 3x + 1}{x^2 + x + 1} + 2 \tan(x) \right) \cdot \frac{{\rm{e}}^{-x} \cos^2(x)}{x^2 + x + 1} \, .&#10;$$&#10;&#10;}}&#10;\end{minipage}&#10;\end{document}"/>
  <p:tag name="IGUANATEXSIZE" val="20"/>
  <p:tag name="IGUANATEXCURSOR" val="4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1,095"/>
  <p:tag name="ORIGINALWIDTH" val="3397,825"/>
  <p:tag name="LATEXADDIN" val="\documentclass{article}\pagestyle{empty}&#10;\usepackage{amsmath}&#10;\usepackage{amsfonts}&#10;\usepackage{amssymb}&#10;\begin{document}&#10;\begin{minipage}{9.6 cm}&#10;{\sffamily{&#10;{\bf{Exercise:}}\\[1mm]&#10;Use the fact that the world population was $2560$ million in 1950 and&#10;$3040$ million in 1960 to model the population of the world in the second half of the $20$th&#10;century. (Assume that the growth rate is proportional to the population size.)\\[2mm]&#10;What is&#10;the relative growth rate? Use the model to estimate the world population in 1993 and to&#10;predict the population in the year 2020.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5,737"/>
  <p:tag name="ORIGINALWIDTH" val="4493,438"/>
  <p:tag name="LATEXADDIN" val="\documentclass{article}\pagestyle{empty}&#10;\usepackage{amsmath}&#10;\usepackage{amsfonts}&#10;\usepackage{amssymb}&#10;\begin{document}&#10;\begin{minipage}{12.7 cm}&#10;{\sffamily{&#10;{\bf{Solution:}}\\[1mm]&#10;We measure the time $t$ in years and let $t = 0$ in the year 1950. We measure&#10;the population $P(t)$ in millions of people. Then $P(0) = 2560$ and $P(10) = 3040$. Since&#10;we are assuming that $\frac{\textrm{d} \, P}{\textrm{d} \, t} = kP$, we have&#10;\begin{eqnarray*}&#10;P(t)  &amp; = &amp; P(0) \, {\rm{e}}^{k t} \, \, = \, \, 2560 \, {\rm{e}}^{kt} \\[2mm]&#10;P(10) &amp; = &amp;  2560 \, {\rm{e}}^{10 k} \, \, = \, \, 3040 \\[2mm]&#10;k &amp; = &amp; \tfrac{1}{10} \, \ln\left( \frac{3040}{2560} \right) \, \, \approx \, \, 0.017185 \, .&#10;\end{eqnarray*}&#10;The relative growth rate is about $1.7\%$ per year and the model is&#10;$$&#10;P(t) \, \, = \, \, 2560 {\rm{e}}^{0.017185 t} \, .&#10;$$&#10;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53,543"/>
  <p:tag name="ORIGINALWIDTH" val="3396,326"/>
  <p:tag name="LATEXADDIN" val="\documentclass{article}\pagestyle{empty}&#10;\usepackage{amsmath}&#10;\usepackage{amsfonts}&#10;\usepackage{amssymb}&#10;\begin{document}&#10;\begin{minipage}{9.6 cm}&#10;{\sffamily{&#10;We estimate that the world population in 1993 was&#10;$$&#10;P(43) \, \, = \, \, 2560 {\rm{e}}^{0.017185 \cdot 43} \, \, = \, \, 5360 \cdot 10^6 \, .&#10;$$&#10;The model predicts that the population in 2020 will be&#10;$$&#10;P(70) \, \, = \, \, 2560 {\rm{e}}^{0.017185 \cdot 70} \, \, = \, \, 8524 \cdot 10^6 \, .&#10;$$&#10;The graph in the figure shows that the model is fairly accurate to the end of the 20th century&#10;(the dots represent the actual population), so the estimate for 1993 is quite reliable.&#10;But the prediction for 2020 is riskier.&#10;}}&#10;\end{minipage}&#10;\end{document}"/>
  <p:tag name="IGUANATEXSIZE" val="20"/>
  <p:tag name="IGUANATEXCURSOR" val="6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15,373"/>
  <p:tag name="ORIGINALWIDTH" val="4499,438"/>
  <p:tag name="LATEXADDIN" val="\documentclass{article}\pagestyle{empty}&#10;\usepackage{amsmath}&#10;\usepackage{amsfonts}&#10;\usepackage{amssymb}&#10;\begin{document}&#10;\begin{minipage}{12.7 cm}&#10;{\sffamily{&#10;{\bf{Exercise:}} The half-life of radium-226 is 1590 years.&#10;\begin{enumerate}&#10;\item[{\bf{a)}}] A sample of radium-226 has a mass of $100$ $mg$. Find a formula for the mass of the&#10;sample that remains after $t$ years.&#10;\item[{\bf{b)}}] Find the mass after $1000$ years correct to the nearest milligram.&#10;\item[{\bf{b)}}] When will the mass be reduced to $30$ $mg$?&#10;\end{enumerate}&#10;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2,227"/>
  <p:tag name="ORIGINALWIDTH" val="4485,189"/>
  <p:tag name="LATEXADDIN" val="\documentclass{article}\pagestyle{empty}&#10;\usepackage{amsmath}&#10;\usepackage{amsfonts}&#10;\usepackage{amssymb}&#10;\begin{document}&#10;\begin{minipage}{12.7 cm}&#10;{\sffamily{&#10;{\bf{Solution:}}\\[1mm]&#10;{\bf{a)}} Let $m(t)$ be the mass of radium-226 (in milligrams) that remains after $t$ years. Then $\frac{\textrm{d} \, m}{\textrm{d} \, t} = km$ and $m(0) = 100$, so&#10;$$&#10;m(t) \, \, = \, \, m(0) \, {\rm{e}}^{kt} \, \, = \, \, 100 \, {\rm{e}}^{kt} \, .&#10;$$&#10;In order to determine the value of $k$, we use the fact that $m(1590) = \tfrac{1}{2} \cdot 100$. Thus&#10;$$&#10;100 \, {\rm{e}}^{1590 k} \, \, = \, \, 50 \qquad \text{so} \qquad {\rm{e}}^{1590 k} \, \, = \, \, \tfrac{1}{2}&#10;$$&#10;and&#10;$$&#10;1590 \, k \, \, = \, \, \ln(\tfrac{1}{2}) \, \, = \, \, -\ln(2) \qquad \Longrightarrow \qquad&#10;k \, \, = \, \, -\frac{\ln(2)}{1590} \, .&#10;$$&#10;Therefore&#10;$$&#10;m(t) \, \, = \, \, 100 \, {\rm{e}}^{-(\ln(2))t/1590} \, .&#10;$$&#10;}}&#10;\end{minipage}&#10;\end{document}"/>
  <p:tag name="IGUANATEXSIZE" val="20"/>
  <p:tag name="IGUANATEXCURSOR" val="8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4,477"/>
  <p:tag name="ORIGINALWIDTH" val="4494,188"/>
  <p:tag name="LATEXADDIN" val="\documentclass{article}\pagestyle{empty}&#10;\usepackage{amsmath}&#10;\usepackage{amsfonts}&#10;\usepackage{amssymb}&#10;\begin{document}&#10;\begin{minipage}{12.7 cm}&#10;{\sffamily{&#10;We could use the fact that ${\rm{e}}^{\ln(2)} = 2$ to write the expression for $m(t)$ in the alternative&#10;form&#10;$$&#10;m(t) \, \, = \, \, 100 \cdot 2^{-t/1590} \, .&#10;$$&#10;&#10;{\bf{b)}} The mass after $1000$ years is&#10;$$&#10;m(1000) \, \, = \, \, 100 \, {\rm{e}}^{-(\ln(2)) 1000/ 1590} \, \, \approx \, \, 65 \, \, \, [mg] \, .&#10;$$&#10;&#10;{\bf{c)}} We want to find the value of $t$ such that $m(t) = 30$, that is,&#10;$$&#10;100 \, {\rm{e}}^{-(\ln(2)) t/ 1590} \, \, = \, \, 30 \qquad \text{or} \qquad {\rm{e}}^{-(\ln(2)) t/ 1590} \, \, = \, \, 0.3 \, .&#10;$$&#10;We solve this equation for $t$ by taking the natural logarithm of both sides:&#10;$$&#10;-\frac{\ln(2)}{1590} \, t \, \, = \, \, \ln(0.3) \qquad \Longrightarrow \qquad t \, \, = \, \, -1590 \frac{\ln(0.3)}{\ln(2)} \, \, \approx \, \, 2762 \, \, \, [\text{years}] \, .&#10;$$&#10;}}&#10;\end{minipage}&#10;\end{document}"/>
  <p:tag name="IGUANATEXSIZE" val="20"/>
  <p:tag name="IGUANATEXCURSOR" val="8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37</Words>
  <Application>Microsoft Office PowerPoint</Application>
  <PresentationFormat>Bildschirmpräsentation (16:9)</PresentationFormat>
  <Paragraphs>133</Paragraphs>
  <Slides>6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8</vt:i4>
      </vt:variant>
    </vt:vector>
  </HeadingPairs>
  <TitlesOfParts>
    <vt:vector size="69" baseType="lpstr">
      <vt:lpstr>Larissa-Design</vt:lpstr>
      <vt:lpstr>Calculus I for Management</vt:lpstr>
      <vt:lpstr>Folie 2</vt:lpstr>
      <vt:lpstr>Recap: the natural exponential function with base e is the only non-constant function whose derivative is equal to the function itself</vt:lpstr>
      <vt:lpstr>Next, let us use implicit differentiation to find the derivatives of logarithmic functions …</vt:lpstr>
      <vt:lpstr>… and, in particular, the natural logarithmic function</vt:lpstr>
      <vt:lpstr>Example: Application of the differentiation rule for the natural logarithm</vt:lpstr>
      <vt:lpstr>Example: Application of the differentiation rule for the natural logarithm</vt:lpstr>
      <vt:lpstr>Example: Derivative of natural exponential and logarithmic functions</vt:lpstr>
      <vt:lpstr>The calculation of derivatives of complicated functions involving products, quotients, or powers can often be simplified by taking logarithms (1/ 3)</vt:lpstr>
      <vt:lpstr>The calculation of derivatives of complicated functions involving products, quotients, or powers can often be simplified by taking logarithms (2/ 3)</vt:lpstr>
      <vt:lpstr>The calculation of derivatives of complicated functions involving products, quotients, or powers can often be simplified by taking logarithms (3/ 3)</vt:lpstr>
      <vt:lpstr>The Euler-number e as a limit (1/ 2)</vt:lpstr>
      <vt:lpstr>The Euler-number e as a limit (2/ 2)</vt:lpstr>
      <vt:lpstr>Folie 14</vt:lpstr>
      <vt:lpstr>Example: Finding optimal holding time</vt:lpstr>
      <vt:lpstr>Example: Finding optimal holding time</vt:lpstr>
      <vt:lpstr>Exponential growth/ decay is characterizes by an increase/ decrease rate that is always proportional to the current value</vt:lpstr>
      <vt:lpstr>Example: Finding exponential sales rates</vt:lpstr>
      <vt:lpstr>Example: Finding exponential sales rates</vt:lpstr>
      <vt:lpstr>Example: Finding exponential sales rates</vt:lpstr>
      <vt:lpstr>Logistic growth resembles an strictly increasing growth that is bounded by a capacity such that the rate of growth damps with increasing time (1/ 4)</vt:lpstr>
      <vt:lpstr>Logistic growth resembles an strictly increasing growth that is bounded by a capacity such that the rate of growth damps with increasing time (2/ 4)</vt:lpstr>
      <vt:lpstr>Logistic growth resembles an strictly increasing growth that is bounded by a capacity such that the rate of growth damps with increasing time (3/ 4)</vt:lpstr>
      <vt:lpstr>Logistic growth resembles an strictly increasing growth that is bounded by a capacity such that the rate of growth damps with increasing time (4/ 4)</vt:lpstr>
      <vt:lpstr>Folie 25</vt:lpstr>
      <vt:lpstr>Marginal analysis studies the change in a quantity that results from a 1-unit increase in this quantity (1/ 3)</vt:lpstr>
      <vt:lpstr>Marginal analysis studies the change in a quantity that results from a 1-unit increase in this quantity (2/ 3)</vt:lpstr>
      <vt:lpstr>Marginal analysis studies the change in a quantity that results from a 1-unit increase in this quantity (3/ 3)</vt:lpstr>
      <vt:lpstr>Example: Using Marginal Analysis to make a business decision</vt:lpstr>
      <vt:lpstr>Example: Using Marginal Analysis to make a business decision</vt:lpstr>
      <vt:lpstr>Marginal analysis can be viewed as an application of our just discussed topic of linear approximation (1/ 2)</vt:lpstr>
      <vt:lpstr>Marginal analysis can be viewed as an application of our just discussed topic of linear approximation (2/ 2)</vt:lpstr>
      <vt:lpstr>Example: Estimating a change in required labor</vt:lpstr>
      <vt:lpstr>From the notational point of view, increments are sometimes referred to as differentials (1/ 2)</vt:lpstr>
      <vt:lpstr>From the notational point of view, increments are sometimes referred to as differentials (2/ 2)</vt:lpstr>
      <vt:lpstr>Example: Finding differentials</vt:lpstr>
      <vt:lpstr>Example: Using Marginal Analysis in labor management</vt:lpstr>
      <vt:lpstr>Example: Using Marginal Analysis in labor management</vt:lpstr>
      <vt:lpstr>Example: Using Marginal Analysis in labor management</vt:lpstr>
      <vt:lpstr>Folie 40</vt:lpstr>
      <vt:lpstr>Problem solving strategies combine unstructured creativity with structured formalism to find and document solutions</vt:lpstr>
      <vt:lpstr>In practical problems it often arises that quantities and their rates depend on each other such that one has to solve ‘related rates problems’</vt:lpstr>
      <vt:lpstr>Example: Finding a related rate of cost</vt:lpstr>
      <vt:lpstr>Example: Finding a related rate of cost</vt:lpstr>
      <vt:lpstr>Example: Using related rates to study supply</vt:lpstr>
      <vt:lpstr>Example: Using related rates to study supply</vt:lpstr>
      <vt:lpstr>Example: Using related rates to study supply</vt:lpstr>
      <vt:lpstr>Folie 48</vt:lpstr>
      <vt:lpstr>Exercise</vt:lpstr>
      <vt:lpstr>Exercise</vt:lpstr>
      <vt:lpstr>Exercise</vt:lpstr>
      <vt:lpstr>Exercise: Population Growth</vt:lpstr>
      <vt:lpstr>Exercise: Population Growth</vt:lpstr>
      <vt:lpstr>Example: Population Growth</vt:lpstr>
      <vt:lpstr>Exercise: Radioactive Decay</vt:lpstr>
      <vt:lpstr>Exercise: Radioactive Decay</vt:lpstr>
      <vt:lpstr>Exercise: Radioactive Decay</vt:lpstr>
      <vt:lpstr>Exercise: Studying marginal cost and marginal revenue</vt:lpstr>
      <vt:lpstr>Exercise: Studying marginal cost and marginal revenue</vt:lpstr>
      <vt:lpstr>Exercise: Studying marginal cost and marginal revenue</vt:lpstr>
      <vt:lpstr>Exercise: Estimating change in cost using a derivative</vt:lpstr>
      <vt:lpstr>Exercise: Related Rates</vt:lpstr>
      <vt:lpstr>Exercise: Related Rates</vt:lpstr>
      <vt:lpstr>Exercise: Related Rates</vt:lpstr>
      <vt:lpstr>Exercise: Related Rates</vt:lpstr>
      <vt:lpstr>Exercise: Related Rates</vt:lpstr>
      <vt:lpstr>Exercise: Related Rate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1</cp:revision>
  <dcterms:created xsi:type="dcterms:W3CDTF">2020-04-04T18:50:50Z</dcterms:created>
  <dcterms:modified xsi:type="dcterms:W3CDTF">2022-10-04T20:52:48Z</dcterms:modified>
</cp:coreProperties>
</file>